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howSpecialPlsOnTitleSld="0" saveSubsetFonts="1" autoCompressPictures="0">
  <p:sldMasterIdLst>
    <p:sldMasterId id="2147485312" r:id="rId1"/>
  </p:sldMasterIdLst>
  <p:notesMasterIdLst>
    <p:notesMasterId r:id="rId26"/>
  </p:notesMasterIdLst>
  <p:handoutMasterIdLst>
    <p:handoutMasterId r:id="rId27"/>
  </p:handoutMasterIdLst>
  <p:sldIdLst>
    <p:sldId id="4075" r:id="rId2"/>
    <p:sldId id="4170" r:id="rId3"/>
    <p:sldId id="4171" r:id="rId4"/>
    <p:sldId id="4172" r:id="rId5"/>
    <p:sldId id="4173" r:id="rId6"/>
    <p:sldId id="4167" r:id="rId7"/>
    <p:sldId id="4175" r:id="rId8"/>
    <p:sldId id="4176" r:id="rId9"/>
    <p:sldId id="4177" r:id="rId10"/>
    <p:sldId id="4179" r:id="rId11"/>
    <p:sldId id="4166" r:id="rId12"/>
    <p:sldId id="4163" r:id="rId13"/>
    <p:sldId id="4165" r:id="rId14"/>
    <p:sldId id="4178" r:id="rId15"/>
    <p:sldId id="4181" r:id="rId16"/>
    <p:sldId id="4174" r:id="rId17"/>
    <p:sldId id="4183" r:id="rId18"/>
    <p:sldId id="4184" r:id="rId19"/>
    <p:sldId id="4180" r:id="rId20"/>
    <p:sldId id="4182" r:id="rId21"/>
    <p:sldId id="4164" r:id="rId22"/>
    <p:sldId id="4162" r:id="rId23"/>
    <p:sldId id="4187" r:id="rId24"/>
    <p:sldId id="4017" r:id="rId25"/>
  </p:sldIdLst>
  <p:sldSz cx="12192000" cy="6858000"/>
  <p:notesSz cx="6950075" cy="9236075"/>
  <p:custShowLst>
    <p:custShow name="Format Guide Workshop" id="0">
      <p:sldLst/>
    </p:custShow>
  </p:custShowLst>
  <p:custDataLst>
    <p:tags r:id="rId28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pos="778" userDrawn="1">
          <p15:clr>
            <a:srgbClr val="A4A3A4"/>
          </p15:clr>
        </p15:guide>
        <p15:guide id="2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Pavithra Subramani" initials="PS" lastIdx="2" clrIdx="0">
    <p:extLst>
      <p:ext uri="{19B8F6BF-5375-455C-9EA6-DF929625EA0E}">
        <p15:presenceInfo xmlns:p15="http://schemas.microsoft.com/office/powerpoint/2012/main" userId="S::pavithra.subramani@rrd.com::b9d84df2-4869-41f4-93dc-07597978cce2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3867A"/>
    <a:srgbClr val="DAEAE6"/>
    <a:srgbClr val="BDD6D8"/>
    <a:srgbClr val="15534C"/>
    <a:srgbClr val="0E322F"/>
    <a:srgbClr val="EAECF1"/>
    <a:srgbClr val="2B9FCD"/>
    <a:srgbClr val="769DB7"/>
    <a:srgbClr val="D2E1EC"/>
    <a:srgbClr val="8BB8D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5FD0F851-EC5A-4D38-B0AD-8093EC10F338}" styleName="Light Style 1 - Accent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2908" autoAdjust="0"/>
    <p:restoredTop sz="93711" autoAdjust="0"/>
  </p:normalViewPr>
  <p:slideViewPr>
    <p:cSldViewPr snapToGrid="0">
      <p:cViewPr varScale="1">
        <p:scale>
          <a:sx n="63" d="100"/>
          <a:sy n="63" d="100"/>
        </p:scale>
        <p:origin x="500" y="60"/>
      </p:cViewPr>
      <p:guideLst>
        <p:guide pos="778"/>
        <p:guide orient="horz" pos="216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-6533"/>
    </p:cViewPr>
  </p:sorterViewPr>
  <p:notesViewPr>
    <p:cSldViewPr snapToGrid="0">
      <p:cViewPr>
        <p:scale>
          <a:sx n="75" d="100"/>
          <a:sy n="75" d="100"/>
        </p:scale>
        <p:origin x="4608" y="1152"/>
      </p:cViewPr>
      <p:guideLst/>
    </p:cSldViewPr>
  </p:notesViewPr>
  <p:gridSpacing cx="39601" cy="39601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commentAuthors" Target="commentAuthor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tags" Target="tags/tag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handoutMaster" Target="handoutMasters/handoutMaster1.xml"/><Relationship Id="rId30" Type="http://schemas.openxmlformats.org/officeDocument/2006/relationships/presProps" Target="presProps.xml"/><Relationship Id="rId8" Type="http://schemas.openxmlformats.org/officeDocument/2006/relationships/slide" Target="slides/slide7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2" y="3"/>
            <a:ext cx="3011699" cy="463408"/>
          </a:xfrm>
          <a:prstGeom prst="rect">
            <a:avLst/>
          </a:prstGeom>
        </p:spPr>
        <p:txBody>
          <a:bodyPr vert="horz" lIns="92492" tIns="46246" rIns="92492" bIns="46246" rtlCol="0"/>
          <a:lstStyle>
            <a:lvl1pPr algn="l">
              <a:defRPr sz="1200"/>
            </a:lvl1pPr>
          </a:lstStyle>
          <a:p>
            <a:endParaRPr lang="en-US" sz="800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36770" y="3"/>
            <a:ext cx="3011699" cy="463408"/>
          </a:xfrm>
          <a:prstGeom prst="rect">
            <a:avLst/>
          </a:prstGeom>
        </p:spPr>
        <p:txBody>
          <a:bodyPr vert="horz" lIns="92492" tIns="46246" rIns="92492" bIns="46246" rtlCol="0"/>
          <a:lstStyle>
            <a:lvl1pPr algn="r">
              <a:defRPr sz="1200"/>
            </a:lvl1pPr>
          </a:lstStyle>
          <a:p>
            <a:fld id="{57691E93-EF64-46CC-85E2-BBB5BEDB9501}" type="datetimeFigureOut">
              <a:rPr lang="en-US" sz="800"/>
              <a:t>10/13/2021</a:t>
            </a:fld>
            <a:endParaRPr lang="en-US" sz="800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2" y="8772671"/>
            <a:ext cx="3011699" cy="463407"/>
          </a:xfrm>
          <a:prstGeom prst="rect">
            <a:avLst/>
          </a:prstGeom>
        </p:spPr>
        <p:txBody>
          <a:bodyPr vert="horz" lIns="92492" tIns="46246" rIns="92492" bIns="46246" rtlCol="0" anchor="b"/>
          <a:lstStyle>
            <a:lvl1pPr algn="l">
              <a:defRPr sz="1200"/>
            </a:lvl1pPr>
          </a:lstStyle>
          <a:p>
            <a:endParaRPr lang="en-US" sz="80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36770" y="8772671"/>
            <a:ext cx="3011699" cy="463407"/>
          </a:xfrm>
          <a:prstGeom prst="rect">
            <a:avLst/>
          </a:prstGeom>
        </p:spPr>
        <p:txBody>
          <a:bodyPr vert="horz" lIns="92492" tIns="46246" rIns="92492" bIns="46246" rtlCol="0" anchor="b"/>
          <a:lstStyle>
            <a:lvl1pPr algn="r">
              <a:defRPr sz="1200"/>
            </a:lvl1pPr>
          </a:lstStyle>
          <a:p>
            <a:fld id="{3DCECA85-2A7A-423F-89EA-6868CB52DF19}" type="slidenum">
              <a:rPr lang="en-US" sz="800"/>
              <a:t>‹#›</a:t>
            </a:fld>
            <a:endParaRPr lang="en-US" sz="800" dirty="0"/>
          </a:p>
        </p:txBody>
      </p:sp>
    </p:spTree>
    <p:extLst>
      <p:ext uri="{BB962C8B-B14F-4D97-AF65-F5344CB8AC3E}">
        <p14:creationId xmlns:p14="http://schemas.microsoft.com/office/powerpoint/2010/main" val="170937759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" name="Rectangle 54"/>
          <p:cNvSpPr/>
          <p:nvPr/>
        </p:nvSpPr>
        <p:spPr>
          <a:xfrm>
            <a:off x="0" y="4410720"/>
            <a:ext cx="6948467" cy="482535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2492" tIns="46246" rIns="92492" bIns="46246" rtlCol="0" anchor="ctr"/>
          <a:lstStyle/>
          <a:p>
            <a:pPr algn="ctr"/>
            <a:endParaRPr lang="en-US" dirty="0"/>
          </a:p>
        </p:txBody>
      </p:sp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82427" y="3"/>
            <a:ext cx="2929274" cy="463408"/>
          </a:xfrm>
          <a:prstGeom prst="rect">
            <a:avLst/>
          </a:prstGeom>
        </p:spPr>
        <p:txBody>
          <a:bodyPr vert="horz" lIns="92492" tIns="46246" rIns="92492" bIns="46246" rtlCol="0"/>
          <a:lstStyle>
            <a:lvl1pPr algn="l">
              <a:defRPr sz="1400"/>
            </a:lvl1pPr>
          </a:lstStyle>
          <a:p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56103" y="575009"/>
            <a:ext cx="6620256" cy="3724113"/>
          </a:xfrm>
          <a:prstGeom prst="rect">
            <a:avLst/>
          </a:prstGeom>
          <a:noFill/>
          <a:ln w="9525">
            <a:solidFill>
              <a:schemeClr val="bg2"/>
            </a:solidFill>
          </a:ln>
        </p:spPr>
        <p:txBody>
          <a:bodyPr vert="horz" lIns="92492" tIns="46246" rIns="92492" bIns="46246" rtlCol="0" anchor="ctr"/>
          <a:lstStyle/>
          <a:p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82427" y="8744096"/>
            <a:ext cx="2929274" cy="463407"/>
          </a:xfrm>
          <a:prstGeom prst="rect">
            <a:avLst/>
          </a:prstGeom>
        </p:spPr>
        <p:txBody>
          <a:bodyPr vert="horz" lIns="92492" tIns="46246" rIns="92492" bIns="46246" rtlCol="0" anchor="b"/>
          <a:lstStyle>
            <a:lvl1pPr algn="l">
              <a:defRPr sz="14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36770" y="8744096"/>
            <a:ext cx="2919957" cy="463407"/>
          </a:xfrm>
          <a:prstGeom prst="rect">
            <a:avLst/>
          </a:prstGeom>
        </p:spPr>
        <p:txBody>
          <a:bodyPr vert="horz" lIns="92492" tIns="46246" rIns="92492" bIns="46246" rtlCol="0" anchor="b"/>
          <a:lstStyle>
            <a:lvl1pPr algn="r">
              <a:defRPr sz="1400"/>
            </a:lvl1pPr>
          </a:lstStyle>
          <a:p>
            <a:r>
              <a:rPr lang="en-US" dirty="0"/>
              <a:t>Notes view: </a:t>
            </a:r>
            <a:fld id="{128CEAFE-FA94-43E5-B0FF-D47E1CCDD1B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259519" y="4714653"/>
            <a:ext cx="6413424" cy="3768947"/>
          </a:xfrm>
          <a:prstGeom prst="rect">
            <a:avLst/>
          </a:prstGeom>
        </p:spPr>
        <p:txBody>
          <a:bodyPr vert="horz" lIns="92492" tIns="46246" rIns="92492" bIns="46246" rtlCol="0"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Date Placeholder 7"/>
          <p:cNvSpPr>
            <a:spLocks noGrp="1"/>
          </p:cNvSpPr>
          <p:nvPr>
            <p:ph type="dt" idx="1"/>
          </p:nvPr>
        </p:nvSpPr>
        <p:spPr>
          <a:xfrm>
            <a:off x="3937000" y="0"/>
            <a:ext cx="3011488" cy="46355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2C7CF5F-7CF3-4DF3-838A-EE34544862CC}" type="datetimeFigureOut">
              <a:rPr lang="en-US" smtClean="0"/>
              <a:t>10/13/202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7336222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indent="0" algn="l" defTabSz="914400" rtl="0" eaLnBrk="1" latinLnBrk="0" hangingPunct="1">
      <a:spcAft>
        <a:spcPts val="600"/>
      </a:spcAft>
      <a:buFont typeface="Arial" panose="020B0604020202020204" pitchFamily="34" charset="0"/>
      <a:buChar char="​"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114300" indent="-114300" algn="l" defTabSz="914400" rtl="0" eaLnBrk="1" latinLnBrk="0" hangingPunct="1">
      <a:spcAft>
        <a:spcPts val="600"/>
      </a:spcAft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228600" indent="-114300" algn="l" defTabSz="914400" rtl="0" eaLnBrk="1" latinLnBrk="0" hangingPunct="1">
      <a:spcAft>
        <a:spcPts val="600"/>
      </a:spcAft>
      <a:buClr>
        <a:schemeClr val="tx2"/>
      </a:buClr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514350" indent="-114300" algn="l" defTabSz="914400" rtl="0" eaLnBrk="1" latinLnBrk="0" hangingPunct="1">
      <a:spcAft>
        <a:spcPts val="600"/>
      </a:spcAft>
      <a:buFont typeface="Arial" panose="020B0604020202020204" pitchFamily="34" charset="0"/>
      <a:buChar char="•"/>
      <a:defRPr sz="1000" kern="1200">
        <a:solidFill>
          <a:schemeClr val="tx1"/>
        </a:solidFill>
        <a:latin typeface="+mn-lt"/>
        <a:ea typeface="+mn-ea"/>
        <a:cs typeface="+mn-cs"/>
      </a:defRPr>
    </a:lvl4pPr>
    <a:lvl5pPr marL="685800" indent="-114300" algn="l" defTabSz="914400" rtl="0" eaLnBrk="1" latinLnBrk="0" hangingPunct="1">
      <a:spcAft>
        <a:spcPts val="600"/>
      </a:spcAft>
      <a:buClr>
        <a:schemeClr val="tx2"/>
      </a:buClr>
      <a:buFont typeface="Arial" panose="020B0604020202020204" pitchFamily="34" charset="0"/>
      <a:buChar char="•"/>
      <a:defRPr sz="1000" i="1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orient="horz" pos="2910" userDrawn="1">
          <p15:clr>
            <a:srgbClr val="F26B43"/>
          </p15:clr>
        </p15:guide>
        <p15:guide id="2" pos="2189" userDrawn="1">
          <p15:clr>
            <a:srgbClr val="F26B43"/>
          </p15:clr>
        </p15:guide>
      </p15:sldGuideLst>
    </p:ext>
  </p:extLst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155575" y="574675"/>
            <a:ext cx="6621463" cy="3724275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/>
              <a:t> 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en-US"/>
              <a:t>Notes view: </a:t>
            </a:r>
            <a:fld id="{128CEAFE-FA94-43E5-B0FF-D47E1CCDD1B4}" type="slidenum">
              <a:rPr lang="en-US" smtClean="0"/>
              <a:pPr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2040437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13" Type="http://schemas.openxmlformats.org/officeDocument/2006/relationships/image" Target="../media/image9.svg"/><Relationship Id="rId3" Type="http://schemas.openxmlformats.org/officeDocument/2006/relationships/tags" Target="../tags/tag4.xml"/><Relationship Id="rId7" Type="http://schemas.openxmlformats.org/officeDocument/2006/relationships/image" Target="../media/image3.jpg"/><Relationship Id="rId12" Type="http://schemas.openxmlformats.org/officeDocument/2006/relationships/image" Target="../media/image8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11" Type="http://schemas.openxmlformats.org/officeDocument/2006/relationships/image" Target="../media/image7.svg"/><Relationship Id="rId5" Type="http://schemas.openxmlformats.org/officeDocument/2006/relationships/oleObject" Target="../embeddings/oleObject2.bin"/><Relationship Id="rId10" Type="http://schemas.openxmlformats.org/officeDocument/2006/relationships/image" Target="../media/image6.png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5.svg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sv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8.png"/><Relationship Id="rId2" Type="http://schemas.openxmlformats.org/officeDocument/2006/relationships/tags" Target="../tags/tag13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0.bin"/><Relationship Id="rId4" Type="http://schemas.openxmlformats.org/officeDocument/2006/relationships/image" Target="../media/image3.jpg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sv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8.png"/><Relationship Id="rId2" Type="http://schemas.openxmlformats.org/officeDocument/2006/relationships/tags" Target="../tags/tag14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1.bin"/><Relationship Id="rId10" Type="http://schemas.openxmlformats.org/officeDocument/2006/relationships/image" Target="../media/image13.svg"/><Relationship Id="rId4" Type="http://schemas.openxmlformats.org/officeDocument/2006/relationships/image" Target="../media/image3.jpg"/><Relationship Id="rId9" Type="http://schemas.openxmlformats.org/officeDocument/2006/relationships/image" Target="../media/image12.png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sv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8.png"/><Relationship Id="rId2" Type="http://schemas.openxmlformats.org/officeDocument/2006/relationships/tags" Target="../tags/tag15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2.bin"/><Relationship Id="rId10" Type="http://schemas.openxmlformats.org/officeDocument/2006/relationships/image" Target="../media/image7.svg"/><Relationship Id="rId4" Type="http://schemas.openxmlformats.org/officeDocument/2006/relationships/image" Target="../media/image3.jpg"/><Relationship Id="rId9" Type="http://schemas.openxmlformats.org/officeDocument/2006/relationships/image" Target="../media/image6.pn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9.svg"/><Relationship Id="rId2" Type="http://schemas.openxmlformats.org/officeDocument/2006/relationships/tags" Target="../tags/tag16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8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3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5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4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2" Type="http://schemas.openxmlformats.org/officeDocument/2006/relationships/tags" Target="../tags/tag18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21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8.bin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9.svg"/><Relationship Id="rId2" Type="http://schemas.openxmlformats.org/officeDocument/2006/relationships/tags" Target="../tags/tag11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8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3.bin"/><Relationship Id="rId9" Type="http://schemas.openxmlformats.org/officeDocument/2006/relationships/image" Target="../media/image11.svg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sv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8.png"/><Relationship Id="rId2" Type="http://schemas.openxmlformats.org/officeDocument/2006/relationships/tags" Target="../tags/tag12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3.jpg"/><Relationship Id="rId5" Type="http://schemas.openxmlformats.org/officeDocument/2006/relationships/image" Target="../media/image2.emf"/><Relationship Id="rId4" Type="http://schemas.openxmlformats.org/officeDocument/2006/relationships/oleObject" Target="../embeddings/oleObject9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6_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F0F509F-E6EA-4FA3-8FC1-39412C56E16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90" name="think-cell Slide" r:id="rId5" imgW="359" imgH="360" progId="TCLayout.ActiveDocument.1">
                  <p:embed/>
                </p:oleObj>
              </mc:Choice>
              <mc:Fallback>
                <p:oleObj name="think-cell Slide" r:id="rId5" imgW="359" imgH="36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F0F509F-E6EA-4FA3-8FC1-39412C56E1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5400" b="0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5" name="Рисунок 14">
            <a:extLst>
              <a:ext uri="{FF2B5EF4-FFF2-40B4-BE49-F238E27FC236}">
                <a16:creationId xmlns:a16="http://schemas.microsoft.com/office/drawing/2014/main" id="{2D5856DB-A6A0-4840-8309-231AE8A5DDF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/>
          <a:srcRect l="2270" t="595" r="32281" b="1886"/>
          <a:stretch/>
        </p:blipFill>
        <p:spPr>
          <a:xfrm>
            <a:off x="0" y="30592"/>
            <a:ext cx="12192000" cy="5014642"/>
          </a:xfrm>
          <a:prstGeom prst="rect">
            <a:avLst/>
          </a:prstGeom>
        </p:spPr>
      </p:pic>
      <p:sp>
        <p:nvSpPr>
          <p:cNvPr id="20" name="Rectangle 9">
            <a:extLst>
              <a:ext uri="{FF2B5EF4-FFF2-40B4-BE49-F238E27FC236}">
                <a16:creationId xmlns:a16="http://schemas.microsoft.com/office/drawing/2014/main" id="{6B686FE7-E436-744F-B416-D59BCF68F7FA}"/>
              </a:ext>
            </a:extLst>
          </p:cNvPr>
          <p:cNvSpPr/>
          <p:nvPr userDrawn="1"/>
        </p:nvSpPr>
        <p:spPr>
          <a:xfrm>
            <a:off x="0" y="5279183"/>
            <a:ext cx="12192000" cy="1578817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2" name="Rectangle 1">
            <a:extLst>
              <a:ext uri="{FF2B5EF4-FFF2-40B4-BE49-F238E27FC236}">
                <a16:creationId xmlns:a16="http://schemas.microsoft.com/office/drawing/2014/main" id="{4FB1C811-3A8A-6D40-9B6C-4EA5E2AB7D63}"/>
              </a:ext>
            </a:extLst>
          </p:cNvPr>
          <p:cNvSpPr/>
          <p:nvPr userDrawn="1"/>
        </p:nvSpPr>
        <p:spPr>
          <a:xfrm>
            <a:off x="0" y="0"/>
            <a:ext cx="12192000" cy="2351313"/>
          </a:xfrm>
          <a:prstGeom prst="rect">
            <a:avLst/>
          </a:prstGeom>
          <a:gradFill>
            <a:gsLst>
              <a:gs pos="21000">
                <a:schemeClr val="bg1"/>
              </a:gs>
              <a:gs pos="95000">
                <a:schemeClr val="bg1">
                  <a:alpha val="0"/>
                </a:schemeClr>
              </a:gs>
            </a:gsLst>
            <a:lin ang="5400000" scaled="1"/>
          </a:gra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1200">
              <a:solidFill>
                <a:srgbClr val="FFFFFF"/>
              </a:solidFill>
            </a:endParaRPr>
          </a:p>
        </p:txBody>
      </p:sp>
      <p:sp>
        <p:nvSpPr>
          <p:cNvPr id="24" name="Text Placeholder 6">
            <a:extLst>
              <a:ext uri="{FF2B5EF4-FFF2-40B4-BE49-F238E27FC236}">
                <a16:creationId xmlns:a16="http://schemas.microsoft.com/office/drawing/2014/main" id="{5F7BC60B-4640-294F-BF7C-D7D290BE9D0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black">
          <a:xfrm>
            <a:off x="1117415" y="6382373"/>
            <a:ext cx="6868800" cy="142252"/>
          </a:xfrm>
          <a:prstGeom prst="rect">
            <a:avLst/>
          </a:prstGeom>
          <a:noFill/>
        </p:spPr>
        <p:txBody>
          <a:bodyPr anchor="ctr"/>
          <a:lstStyle>
            <a:lvl1pPr algn="l">
              <a:lnSpc>
                <a:spcPct val="110000"/>
              </a:lnSpc>
              <a:buNone/>
              <a:defRPr sz="1200" b="1" cap="all" baseline="0">
                <a:solidFill>
                  <a:srgbClr val="8398A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algn="ctr">
              <a:buNone/>
              <a:defRPr/>
            </a:lvl2pPr>
            <a:lvl3pPr marL="0" indent="0" algn="ctr">
              <a:buNone/>
              <a:defRPr/>
            </a:lvl3pPr>
            <a:lvl4pPr marL="228600" indent="0" algn="ctr">
              <a:buNone/>
              <a:defRPr/>
            </a:lvl4pPr>
            <a:lvl5pPr marL="457200" indent="0" algn="ctr">
              <a:buNone/>
              <a:defRPr/>
            </a:lvl5pPr>
          </a:lstStyle>
          <a:p>
            <a:pPr lvl="0"/>
            <a:r>
              <a:rPr lang="en-US" dirty="0"/>
              <a:t>Click to edit date/place</a:t>
            </a:r>
          </a:p>
        </p:txBody>
      </p:sp>
      <p:pic>
        <p:nvPicPr>
          <p:cNvPr id="25" name="Graphic 13">
            <a:extLst>
              <a:ext uri="{FF2B5EF4-FFF2-40B4-BE49-F238E27FC236}">
                <a16:creationId xmlns:a16="http://schemas.microsoft.com/office/drawing/2014/main" id="{F3E2A481-1406-AE44-9F44-CD523BBE069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rcRect l="23073"/>
          <a:stretch/>
        </p:blipFill>
        <p:spPr>
          <a:xfrm>
            <a:off x="1505570" y="623923"/>
            <a:ext cx="2923737" cy="885600"/>
          </a:xfrm>
          <a:prstGeom prst="rect">
            <a:avLst/>
          </a:prstGeom>
        </p:spPr>
      </p:pic>
      <p:pic>
        <p:nvPicPr>
          <p:cNvPr id="26" name="Рисунок 25">
            <a:extLst>
              <a:ext uri="{FF2B5EF4-FFF2-40B4-BE49-F238E27FC236}">
                <a16:creationId xmlns:a16="http://schemas.microsoft.com/office/drawing/2014/main" id="{5285A5EA-8F3A-644A-B476-1EC51FD848E3}"/>
              </a:ext>
            </a:extLst>
          </p:cNvPr>
          <p:cNvPicPr>
            <a:picLocks noChangeAspect="1"/>
          </p:cNvPicPr>
          <p:nvPr userDrawn="1"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5239863" y="729411"/>
            <a:ext cx="3351173" cy="598424"/>
          </a:xfrm>
          <a:prstGeom prst="rect">
            <a:avLst/>
          </a:prstGeom>
        </p:spPr>
      </p:pic>
      <p:pic>
        <p:nvPicPr>
          <p:cNvPr id="27" name="Рисунок 26">
            <a:extLst>
              <a:ext uri="{FF2B5EF4-FFF2-40B4-BE49-F238E27FC236}">
                <a16:creationId xmlns:a16="http://schemas.microsoft.com/office/drawing/2014/main" id="{23DC2C5A-4103-BD48-A511-8AAB1ACC01BE}"/>
              </a:ext>
            </a:extLst>
          </p:cNvPr>
          <p:cNvPicPr>
            <a:picLocks noChangeAspect="1"/>
          </p:cNvPicPr>
          <p:nvPr userDrawn="1"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628650" y="620713"/>
            <a:ext cx="803331" cy="885600"/>
          </a:xfrm>
          <a:prstGeom prst="rect">
            <a:avLst/>
          </a:prstGeom>
        </p:spPr>
      </p:pic>
      <p:sp>
        <p:nvSpPr>
          <p:cNvPr id="28" name="Rectangle 14">
            <a:extLst>
              <a:ext uri="{FF2B5EF4-FFF2-40B4-BE49-F238E27FC236}">
                <a16:creationId xmlns:a16="http://schemas.microsoft.com/office/drawing/2014/main" id="{7BCA8140-9996-7444-B264-C596684083F7}"/>
              </a:ext>
            </a:extLst>
          </p:cNvPr>
          <p:cNvSpPr/>
          <p:nvPr userDrawn="1"/>
        </p:nvSpPr>
        <p:spPr bwMode="black">
          <a:xfrm>
            <a:off x="628650" y="2351314"/>
            <a:ext cx="8127486" cy="3814536"/>
          </a:xfrm>
          <a:prstGeom prst="rect">
            <a:avLst/>
          </a:prstGeom>
          <a:gradFill flip="none" rotWithShape="1">
            <a:gsLst>
              <a:gs pos="0">
                <a:schemeClr val="accent1"/>
              </a:gs>
              <a:gs pos="100000">
                <a:schemeClr val="tx2">
                  <a:alpha val="70000"/>
                </a:schemeClr>
              </a:gs>
            </a:gsLst>
            <a:lin ang="189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endParaRPr lang="en-US" sz="200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9" name="Title 1">
            <a:extLst>
              <a:ext uri="{FF2B5EF4-FFF2-40B4-BE49-F238E27FC236}">
                <a16:creationId xmlns:a16="http://schemas.microsoft.com/office/drawing/2014/main" id="{93CB2575-7136-3849-926F-89DF14781FE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ltGray">
          <a:xfrm>
            <a:off x="1117415" y="2830749"/>
            <a:ext cx="6868800" cy="2193916"/>
          </a:xfrm>
          <a:prstGeom prst="rect">
            <a:avLst/>
          </a:prstGeom>
        </p:spPr>
        <p:txBody>
          <a:bodyPr anchor="ctr">
            <a:normAutofit/>
          </a:bodyPr>
          <a:lstStyle>
            <a:lvl1pPr algn="l">
              <a:lnSpc>
                <a:spcPct val="93000"/>
              </a:lnSpc>
              <a:defRPr sz="2400" baseline="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Title in Title Cas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283477F6-4C0B-1745-88DC-3A6766186DF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white">
          <a:xfrm>
            <a:off x="1117415" y="5495706"/>
            <a:ext cx="6868800" cy="436195"/>
          </a:xfrm>
          <a:prstGeom prst="rect">
            <a:avLst/>
          </a:prstGeom>
        </p:spPr>
        <p:txBody>
          <a:bodyPr anchor="ctr"/>
          <a:lstStyle>
            <a:lvl1pPr marL="0" indent="0" algn="l">
              <a:lnSpc>
                <a:spcPct val="110000"/>
              </a:lnSpc>
              <a:buNone/>
              <a:defRPr sz="1600" baseline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n sentence case</a:t>
            </a:r>
          </a:p>
        </p:txBody>
      </p:sp>
    </p:spTree>
    <p:extLst>
      <p:ext uri="{BB962C8B-B14F-4D97-AF65-F5344CB8AC3E}">
        <p14:creationId xmlns:p14="http://schemas.microsoft.com/office/powerpoint/2010/main" val="24620372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0F57C47B-A200-E140-9FA2-D756F8242CD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/>
          <a:srcRect l="88" r="63648"/>
          <a:stretch/>
        </p:blipFill>
        <p:spPr>
          <a:xfrm>
            <a:off x="3182399" y="0"/>
            <a:ext cx="9009602" cy="6858000"/>
          </a:xfrm>
          <a:prstGeom prst="rect">
            <a:avLst/>
          </a:prstGeom>
        </p:spPr>
      </p:pic>
      <p:sp>
        <p:nvSpPr>
          <p:cNvPr id="12" name="Rectangle 7">
            <a:extLst>
              <a:ext uri="{FF2B5EF4-FFF2-40B4-BE49-F238E27FC236}">
                <a16:creationId xmlns:a16="http://schemas.microsoft.com/office/drawing/2014/main" id="{2EAFAD95-9A05-B143-BF88-F6B20D51E8EA}"/>
              </a:ext>
            </a:extLst>
          </p:cNvPr>
          <p:cNvSpPr/>
          <p:nvPr userDrawn="1"/>
        </p:nvSpPr>
        <p:spPr>
          <a:xfrm flipH="1">
            <a:off x="0" y="0"/>
            <a:ext cx="4367213" cy="6858000"/>
          </a:xfrm>
          <a:prstGeom prst="rect">
            <a:avLst/>
          </a:prstGeom>
          <a:solidFill>
            <a:srgbClr val="F0F3F5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1200">
              <a:solidFill>
                <a:srgbClr val="FFFFFF"/>
              </a:solidFill>
            </a:endParaRPr>
          </a:p>
        </p:txBody>
      </p:sp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91AB4C8-7598-4134-9725-619CE9C59E7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757394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06" name="think-cell Slide" r:id="rId5" imgW="359" imgH="360" progId="TCLayout.ActiveDocument.1">
                  <p:embed/>
                </p:oleObj>
              </mc:Choice>
              <mc:Fallback>
                <p:oleObj name="think-cell Slide" r:id="rId5" imgW="359" imgH="36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91AB4C8-7598-4134-9725-619CE9C59E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1 by Boston Consulting Group. All rights reserved.</a:t>
            </a:r>
          </a:p>
        </p:txBody>
      </p:sp>
      <p:sp>
        <p:nvSpPr>
          <p:cNvPr id="25" name="Текст 2">
            <a:extLst>
              <a:ext uri="{FF2B5EF4-FFF2-40B4-BE49-F238E27FC236}">
                <a16:creationId xmlns:a16="http://schemas.microsoft.com/office/drawing/2014/main" id="{D1E1738E-FE8C-6041-89B2-3E9DC61228C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28650" y="6165850"/>
            <a:ext cx="3451225" cy="358775"/>
          </a:xfrm>
          <a:prstGeom prst="rect">
            <a:avLst/>
          </a:prstGeom>
        </p:spPr>
        <p:txBody>
          <a:bodyPr lIns="0" tIns="0" rIns="0" bIns="0" anchor="b"/>
          <a:lstStyle>
            <a:lvl1pPr marL="171450" indent="-17145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ru-RU" sz="900" kern="1200" dirty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marL="0" lv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</a:pPr>
            <a:r>
              <a:rPr lang="ru-RU" dirty="0"/>
              <a:t>Образец текста</a:t>
            </a:r>
          </a:p>
        </p:txBody>
      </p:sp>
      <p:sp>
        <p:nvSpPr>
          <p:cNvPr id="26" name="Title Placeholder 1">
            <a:extLst>
              <a:ext uri="{FF2B5EF4-FFF2-40B4-BE49-F238E27FC236}">
                <a16:creationId xmlns:a16="http://schemas.microsoft.com/office/drawing/2014/main" id="{F43B35C4-368C-B24D-9B26-53107CCA63A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2727809"/>
            <a:ext cx="3449875" cy="2811600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>
              <a:lnSpc>
                <a:spcPct val="100000"/>
              </a:lnSpc>
              <a:defRPr sz="24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5489DE0A-1ED8-AB4C-9631-26263C554EF6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635265" y="625905"/>
            <a:ext cx="1153148" cy="12712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244061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  <p15:guide id="2" pos="2570">
          <p15:clr>
            <a:srgbClr val="FBAE40"/>
          </p15:clr>
        </p15:guide>
        <p15:guide id="3" pos="2751">
          <p15:clr>
            <a:srgbClr val="FBAE40"/>
          </p15:clr>
        </p15:guide>
        <p15:guide id="4" pos="4929">
          <p15:clr>
            <a:srgbClr val="FBAE40"/>
          </p15:clr>
        </p15:guide>
        <p15:guide id="5" pos="5110">
          <p15:clr>
            <a:srgbClr val="FBAE40"/>
          </p15:clr>
        </p15:guide>
        <p15:guide id="6" orient="horz" pos="132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Рисунок 9">
            <a:extLst>
              <a:ext uri="{FF2B5EF4-FFF2-40B4-BE49-F238E27FC236}">
                <a16:creationId xmlns:a16="http://schemas.microsoft.com/office/drawing/2014/main" id="{A9D44D15-7845-3645-AC54-D536545F14D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/>
          <a:srcRect l="88" r="63648"/>
          <a:stretch/>
        </p:blipFill>
        <p:spPr>
          <a:xfrm>
            <a:off x="3182399" y="0"/>
            <a:ext cx="9009602" cy="6858000"/>
          </a:xfrm>
          <a:prstGeom prst="rect">
            <a:avLst/>
          </a:prstGeom>
        </p:spPr>
      </p:pic>
      <p:sp>
        <p:nvSpPr>
          <p:cNvPr id="12" name="Rectangle 7">
            <a:extLst>
              <a:ext uri="{FF2B5EF4-FFF2-40B4-BE49-F238E27FC236}">
                <a16:creationId xmlns:a16="http://schemas.microsoft.com/office/drawing/2014/main" id="{2EAFAD95-9A05-B143-BF88-F6B20D51E8EA}"/>
              </a:ext>
            </a:extLst>
          </p:cNvPr>
          <p:cNvSpPr/>
          <p:nvPr userDrawn="1"/>
        </p:nvSpPr>
        <p:spPr>
          <a:xfrm flipH="1">
            <a:off x="0" y="0"/>
            <a:ext cx="4367213" cy="6858000"/>
          </a:xfrm>
          <a:prstGeom prst="rect">
            <a:avLst/>
          </a:prstGeom>
          <a:solidFill>
            <a:srgbClr val="F0F3F5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1200">
              <a:solidFill>
                <a:srgbClr val="FFFFFF"/>
              </a:solidFill>
            </a:endParaRPr>
          </a:p>
        </p:txBody>
      </p:sp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91AB4C8-7598-4134-9725-619CE9C59E7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016757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30" name="think-cell Slide" r:id="rId5" imgW="359" imgH="360" progId="TCLayout.ActiveDocument.1">
                  <p:embed/>
                </p:oleObj>
              </mc:Choice>
              <mc:Fallback>
                <p:oleObj name="think-cell Slide" r:id="rId5" imgW="359" imgH="36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91AB4C8-7598-4134-9725-619CE9C59E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1 by Boston Consulting Group. All rights reserved.</a:t>
            </a:r>
          </a:p>
        </p:txBody>
      </p:sp>
      <p:sp>
        <p:nvSpPr>
          <p:cNvPr id="25" name="Текст 2">
            <a:extLst>
              <a:ext uri="{FF2B5EF4-FFF2-40B4-BE49-F238E27FC236}">
                <a16:creationId xmlns:a16="http://schemas.microsoft.com/office/drawing/2014/main" id="{D1E1738E-FE8C-6041-89B2-3E9DC61228C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28650" y="6165850"/>
            <a:ext cx="3451225" cy="358775"/>
          </a:xfrm>
          <a:prstGeom prst="rect">
            <a:avLst/>
          </a:prstGeom>
        </p:spPr>
        <p:txBody>
          <a:bodyPr lIns="0" tIns="0" rIns="0" bIns="0" anchor="b"/>
          <a:lstStyle>
            <a:lvl1pPr marL="171450" indent="-17145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ru-RU" sz="900" kern="1200" dirty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marL="0" lv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</a:pPr>
            <a:r>
              <a:rPr lang="ru-RU" dirty="0"/>
              <a:t>Образец текста</a:t>
            </a:r>
          </a:p>
        </p:txBody>
      </p:sp>
      <p:sp>
        <p:nvSpPr>
          <p:cNvPr id="26" name="Title Placeholder 1">
            <a:extLst>
              <a:ext uri="{FF2B5EF4-FFF2-40B4-BE49-F238E27FC236}">
                <a16:creationId xmlns:a16="http://schemas.microsoft.com/office/drawing/2014/main" id="{F43B35C4-368C-B24D-9B26-53107CCA63A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2727809"/>
            <a:ext cx="3449875" cy="2811600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>
              <a:lnSpc>
                <a:spcPct val="100000"/>
              </a:lnSpc>
              <a:defRPr sz="24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5489DE0A-1ED8-AB4C-9631-26263C554EF6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635265" y="625905"/>
            <a:ext cx="1153148" cy="1271242"/>
          </a:xfrm>
          <a:prstGeom prst="rect">
            <a:avLst/>
          </a:prstGeom>
        </p:spPr>
      </p:pic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DA02C17E-0D86-2847-8086-0748A83B1B44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2086704" y="795706"/>
            <a:ext cx="1693559" cy="10096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247170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  <p15:guide id="2" pos="2570">
          <p15:clr>
            <a:srgbClr val="FBAE40"/>
          </p15:clr>
        </p15:guide>
        <p15:guide id="3" pos="2751">
          <p15:clr>
            <a:srgbClr val="FBAE40"/>
          </p15:clr>
        </p15:guide>
        <p15:guide id="4" pos="4929">
          <p15:clr>
            <a:srgbClr val="FBAE40"/>
          </p15:clr>
        </p15:guide>
        <p15:guide id="5" pos="5110">
          <p15:clr>
            <a:srgbClr val="FBAE40"/>
          </p15:clr>
        </p15:guide>
        <p15:guide id="6" orient="horz" pos="132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7D52FD33-EA0C-A445-B7D6-FE881C17F95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/>
          <a:srcRect l="88" r="63648"/>
          <a:stretch/>
        </p:blipFill>
        <p:spPr>
          <a:xfrm>
            <a:off x="3182399" y="0"/>
            <a:ext cx="9009602" cy="6858000"/>
          </a:xfrm>
          <a:prstGeom prst="rect">
            <a:avLst/>
          </a:prstGeom>
        </p:spPr>
      </p:pic>
      <p:sp>
        <p:nvSpPr>
          <p:cNvPr id="12" name="Rectangle 7">
            <a:extLst>
              <a:ext uri="{FF2B5EF4-FFF2-40B4-BE49-F238E27FC236}">
                <a16:creationId xmlns:a16="http://schemas.microsoft.com/office/drawing/2014/main" id="{2EAFAD95-9A05-B143-BF88-F6B20D51E8EA}"/>
              </a:ext>
            </a:extLst>
          </p:cNvPr>
          <p:cNvSpPr/>
          <p:nvPr userDrawn="1"/>
        </p:nvSpPr>
        <p:spPr>
          <a:xfrm flipH="1">
            <a:off x="0" y="0"/>
            <a:ext cx="4367213" cy="6858000"/>
          </a:xfrm>
          <a:prstGeom prst="rect">
            <a:avLst/>
          </a:prstGeom>
          <a:solidFill>
            <a:srgbClr val="F0F3F5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1200">
              <a:solidFill>
                <a:srgbClr val="FFFFFF"/>
              </a:solidFill>
            </a:endParaRPr>
          </a:p>
        </p:txBody>
      </p:sp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91AB4C8-7598-4134-9725-619CE9C59E7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493385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54" name="think-cell Slide" r:id="rId5" imgW="359" imgH="360" progId="TCLayout.ActiveDocument.1">
                  <p:embed/>
                </p:oleObj>
              </mc:Choice>
              <mc:Fallback>
                <p:oleObj name="think-cell Slide" r:id="rId5" imgW="359" imgH="36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91AB4C8-7598-4134-9725-619CE9C59E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1 by Boston Consulting Group. All rights reserved.</a:t>
            </a:r>
          </a:p>
        </p:txBody>
      </p:sp>
      <p:sp>
        <p:nvSpPr>
          <p:cNvPr id="26" name="Title Placeholder 1">
            <a:extLst>
              <a:ext uri="{FF2B5EF4-FFF2-40B4-BE49-F238E27FC236}">
                <a16:creationId xmlns:a16="http://schemas.microsoft.com/office/drawing/2014/main" id="{F43B35C4-368C-B24D-9B26-53107CCA63A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2727809"/>
            <a:ext cx="3449875" cy="2811600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>
              <a:lnSpc>
                <a:spcPct val="100000"/>
              </a:lnSpc>
              <a:defRPr sz="24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5489DE0A-1ED8-AB4C-9631-26263C554EF6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635265" y="625905"/>
            <a:ext cx="1153148" cy="1271242"/>
          </a:xfrm>
          <a:prstGeom prst="rect">
            <a:avLst/>
          </a:prstGeom>
        </p:spPr>
      </p:pic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92790F32-9305-674E-BFBD-F388A67C89A9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628651" y="6162957"/>
            <a:ext cx="2025340" cy="3616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359705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  <p15:guide id="2" pos="2570">
          <p15:clr>
            <a:srgbClr val="FBAE40"/>
          </p15:clr>
        </p15:guide>
        <p15:guide id="3" pos="2751">
          <p15:clr>
            <a:srgbClr val="FBAE40"/>
          </p15:clr>
        </p15:guide>
        <p15:guide id="4" pos="4929">
          <p15:clr>
            <a:srgbClr val="FBAE40"/>
          </p15:clr>
        </p15:guide>
        <p15:guide id="5" pos="5110">
          <p15:clr>
            <a:srgbClr val="FBAE40"/>
          </p15:clr>
        </p15:guide>
        <p15:guide id="6" orient="horz" pos="132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7">
            <a:extLst>
              <a:ext uri="{FF2B5EF4-FFF2-40B4-BE49-F238E27FC236}">
                <a16:creationId xmlns:a16="http://schemas.microsoft.com/office/drawing/2014/main" id="{2EAFAD95-9A05-B143-BF88-F6B20D51E8EA}"/>
              </a:ext>
            </a:extLst>
          </p:cNvPr>
          <p:cNvSpPr/>
          <p:nvPr userDrawn="1"/>
        </p:nvSpPr>
        <p:spPr>
          <a:xfrm flipH="1">
            <a:off x="0" y="0"/>
            <a:ext cx="4367213" cy="6858000"/>
          </a:xfrm>
          <a:prstGeom prst="rect">
            <a:avLst/>
          </a:prstGeom>
          <a:solidFill>
            <a:srgbClr val="F0F3F5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1200">
              <a:solidFill>
                <a:srgbClr val="FFFFFF"/>
              </a:solidFill>
            </a:endParaRPr>
          </a:p>
        </p:txBody>
      </p:sp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91AB4C8-7598-4134-9725-619CE9C59E7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985113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78" name="think-cell Slide" r:id="rId4" imgW="359" imgH="360" progId="TCLayout.ActiveDocument.1">
                  <p:embed/>
                </p:oleObj>
              </mc:Choice>
              <mc:Fallback>
                <p:oleObj name="think-cell Slide" r:id="rId4" imgW="359" imgH="36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91AB4C8-7598-4134-9725-619CE9C59E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1 by Boston Consulting Group. All rights reserved.</a:t>
            </a:r>
          </a:p>
        </p:txBody>
      </p:sp>
      <p:sp>
        <p:nvSpPr>
          <p:cNvPr id="25" name="Текст 2">
            <a:extLst>
              <a:ext uri="{FF2B5EF4-FFF2-40B4-BE49-F238E27FC236}">
                <a16:creationId xmlns:a16="http://schemas.microsoft.com/office/drawing/2014/main" id="{D1E1738E-FE8C-6041-89B2-3E9DC61228C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28650" y="6165850"/>
            <a:ext cx="3451225" cy="358775"/>
          </a:xfrm>
          <a:prstGeom prst="rect">
            <a:avLst/>
          </a:prstGeom>
        </p:spPr>
        <p:txBody>
          <a:bodyPr lIns="0" tIns="0" rIns="0" bIns="0" anchor="b"/>
          <a:lstStyle>
            <a:lvl1pPr marL="171450" indent="-17145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ru-RU" sz="900" kern="1200" dirty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marL="0" lv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</a:pPr>
            <a:r>
              <a:rPr lang="ru-RU" dirty="0"/>
              <a:t>Образец текста</a:t>
            </a:r>
          </a:p>
        </p:txBody>
      </p:sp>
      <p:sp>
        <p:nvSpPr>
          <p:cNvPr id="26" name="Title Placeholder 1">
            <a:extLst>
              <a:ext uri="{FF2B5EF4-FFF2-40B4-BE49-F238E27FC236}">
                <a16:creationId xmlns:a16="http://schemas.microsoft.com/office/drawing/2014/main" id="{F43B35C4-368C-B24D-9B26-53107CCA63A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2727809"/>
            <a:ext cx="3449875" cy="2811600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>
              <a:lnSpc>
                <a:spcPct val="100000"/>
              </a:lnSpc>
              <a:defRPr sz="24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5489DE0A-1ED8-AB4C-9631-26263C554EF6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635265" y="625905"/>
            <a:ext cx="1153148" cy="1271242"/>
          </a:xfrm>
          <a:prstGeom prst="rect">
            <a:avLst/>
          </a:prstGeom>
        </p:spPr>
      </p:pic>
      <p:sp>
        <p:nvSpPr>
          <p:cNvPr id="6" name="Рисунок 5">
            <a:extLst>
              <a:ext uri="{FF2B5EF4-FFF2-40B4-BE49-F238E27FC236}">
                <a16:creationId xmlns:a16="http://schemas.microsoft.com/office/drawing/2014/main" id="{7529C871-968B-4548-B9DC-09C7E58E5A8B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367213" y="0"/>
            <a:ext cx="7824787" cy="6858000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053542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  <p15:guide id="2" pos="2570">
          <p15:clr>
            <a:srgbClr val="FBAE40"/>
          </p15:clr>
        </p15:guide>
        <p15:guide id="3" pos="2751">
          <p15:clr>
            <a:srgbClr val="FBAE40"/>
          </p15:clr>
        </p15:guide>
        <p15:guide id="4" pos="4929">
          <p15:clr>
            <a:srgbClr val="FBAE40"/>
          </p15:clr>
        </p15:guide>
        <p15:guide id="5" pos="5110">
          <p15:clr>
            <a:srgbClr val="FBAE40"/>
          </p15:clr>
        </p15:guide>
        <p15:guide id="6" orient="horz" pos="132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">
    <p:bg>
      <p:bgPr>
        <a:solidFill>
          <a:srgbClr val="F0F3F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1A1C92A0-5DC3-4F98-82B5-8CCC9DE14E7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02" name="think-cell Slide" r:id="rId4" imgW="359" imgH="360" progId="TCLayout.ActiveDocument.1">
                  <p:embed/>
                </p:oleObj>
              </mc:Choice>
              <mc:Fallback>
                <p:oleObj name="think-cell Slide" r:id="rId4" imgW="359" imgH="36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1A1C92A0-5DC3-4F98-82B5-8CCC9DE14E7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1 by Boston Consulting Group. All rights reserved.</a:t>
            </a:r>
          </a:p>
        </p:txBody>
      </p:sp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A04F72A3-5ED9-AF45-A4F5-591EFC64A3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620713"/>
            <a:ext cx="10933350" cy="585787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4023A916-0DD9-1D49-8A32-E3474D876874}"/>
              </a:ext>
            </a:extLst>
          </p:cNvPr>
          <p:cNvSpPr txBox="1"/>
          <p:nvPr userDrawn="1"/>
        </p:nvSpPr>
        <p:spPr>
          <a:xfrm>
            <a:off x="2374900" y="3797300"/>
            <a:ext cx="0" cy="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bg1">
                    <a:lumMod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wrap="none" lIns="0" tIns="0" rIns="0" bIns="0" rtlCol="0" anchor="ctr"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ru-RU" sz="1200" dirty="0" err="1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410538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Bas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GradientOverlay">
            <a:extLst>
              <a:ext uri="{FF2B5EF4-FFF2-40B4-BE49-F238E27FC236}">
                <a16:creationId xmlns:a16="http://schemas.microsoft.com/office/drawing/2014/main" id="{D81DE76B-8D1D-FF4E-8E36-4655128CC84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1148" y="0"/>
            <a:ext cx="6084852" cy="6867940"/>
          </a:xfrm>
          <a:prstGeom prst="rect">
            <a:avLst/>
          </a:prstGeom>
          <a:solidFill>
            <a:srgbClr val="F0F3F5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sz="1200" dirty="0">
              <a:solidFill>
                <a:srgbClr val="FFFFFF"/>
              </a:solidFill>
              <a:sym typeface="+mn-lt"/>
            </a:endParaRPr>
          </a:p>
        </p:txBody>
      </p:sp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91AB4C8-7598-4134-9725-619CE9C59E7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40200991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26" name="think-cell Slide" r:id="rId5" imgW="359" imgH="360" progId="TCLayout.ActiveDocument.1">
                  <p:embed/>
                </p:oleObj>
              </mc:Choice>
              <mc:Fallback>
                <p:oleObj name="think-cell Slide" r:id="rId5" imgW="359" imgH="36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91AB4C8-7598-4134-9725-619CE9C59E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1 by Boston Consulting Group. All rights reserved.</a:t>
            </a:r>
          </a:p>
        </p:txBody>
      </p: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A572A1C-A52E-AC49-AA97-4BE86DBFC7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620713"/>
            <a:ext cx="4994623" cy="863600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>
              <a:defRPr sz="2400"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5E5C7011-D9E2-F840-B366-D04F8760846F}"/>
              </a:ext>
            </a:extLst>
          </p:cNvPr>
          <p:cNvSpPr txBox="1"/>
          <p:nvPr userDrawn="1"/>
        </p:nvSpPr>
        <p:spPr>
          <a:xfrm>
            <a:off x="2374900" y="3797300"/>
            <a:ext cx="0" cy="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bg1">
                    <a:lumMod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wrap="none" lIns="0" tIns="0" rIns="0" bIns="0" rtlCol="0" anchor="ctr"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ru-RU" sz="1200" dirty="0" err="1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Текст 2">
            <a:extLst>
              <a:ext uri="{FF2B5EF4-FFF2-40B4-BE49-F238E27FC236}">
                <a16:creationId xmlns:a16="http://schemas.microsoft.com/office/drawing/2014/main" id="{9677FE01-B879-D742-AAB3-4C49A2BB214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28650" y="6165850"/>
            <a:ext cx="4995973" cy="358775"/>
          </a:xfrm>
          <a:prstGeom prst="rect">
            <a:avLst/>
          </a:prstGeom>
        </p:spPr>
        <p:txBody>
          <a:bodyPr lIns="0" tIns="0" rIns="0" bIns="0" anchor="b"/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ru-RU" sz="900" kern="1200" dirty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A8B2DBED-250B-6A4C-A9EC-90719EAD832C}"/>
              </a:ext>
            </a:extLst>
          </p:cNvPr>
          <p:cNvSpPr txBox="1"/>
          <p:nvPr userDrawn="1"/>
        </p:nvSpPr>
        <p:spPr>
          <a:xfrm>
            <a:off x="11261724" y="6165850"/>
            <a:ext cx="301626" cy="358775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136030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  <p15:guide id="2" pos="2570">
          <p15:clr>
            <a:srgbClr val="FBAE40"/>
          </p15:clr>
        </p15:guide>
        <p15:guide id="3" pos="2751">
          <p15:clr>
            <a:srgbClr val="FBAE40"/>
          </p15:clr>
        </p15:guide>
        <p15:guide id="4" pos="4929">
          <p15:clr>
            <a:srgbClr val="FBAE40"/>
          </p15:clr>
        </p15:guide>
        <p15:guide id="5" pos="5110">
          <p15:clr>
            <a:srgbClr val="FBAE40"/>
          </p15:clr>
        </p15:guide>
        <p15:guide id="6" orient="horz" pos="1321">
          <p15:clr>
            <a:srgbClr val="FBAE40"/>
          </p15:clr>
        </p15:guide>
        <p15:guide id="7" pos="2933">
          <p15:clr>
            <a:srgbClr val="FBAE40"/>
          </p15:clr>
        </p15:guide>
        <p15:guide id="8" pos="3840">
          <p15:clr>
            <a:srgbClr val="FBAE40"/>
          </p15:clr>
        </p15:guide>
        <p15:guide id="9" pos="3659">
          <p15:clr>
            <a:srgbClr val="FBAE40"/>
          </p15:clr>
        </p15:guide>
        <p15:guide id="10" pos="402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91AB4C8-7598-4134-9725-619CE9C59E7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50" name="think-cell Slide" r:id="rId5" imgW="359" imgH="360" progId="TCLayout.ActiveDocument.1">
                  <p:embed/>
                </p:oleObj>
              </mc:Choice>
              <mc:Fallback>
                <p:oleObj name="think-cell Slide" r:id="rId5" imgW="359" imgH="36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91AB4C8-7598-4134-9725-619CE9C59E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400" b="0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1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5724501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91AB4C8-7598-4134-9725-619CE9C59E7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505608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14" name="think-cell Slide" r:id="rId4" imgW="359" imgH="360" progId="TCLayout.ActiveDocument.1">
                  <p:embed/>
                </p:oleObj>
              </mc:Choice>
              <mc:Fallback>
                <p:oleObj name="think-cell Slide" r:id="rId4" imgW="359" imgH="36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91AB4C8-7598-4134-9725-619CE9C59E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1 by Boston Consulting Group. All rights reserved.</a:t>
            </a:r>
          </a:p>
        </p:txBody>
      </p: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A572A1C-A52E-AC49-AA97-4BE86DBFC7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620713"/>
            <a:ext cx="10933350" cy="585787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5E5C7011-D9E2-F840-B366-D04F8760846F}"/>
              </a:ext>
            </a:extLst>
          </p:cNvPr>
          <p:cNvSpPr txBox="1"/>
          <p:nvPr userDrawn="1"/>
        </p:nvSpPr>
        <p:spPr>
          <a:xfrm>
            <a:off x="2374900" y="3797300"/>
            <a:ext cx="0" cy="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bg1">
                    <a:lumMod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wrap="none" lIns="0" tIns="0" rIns="0" bIns="0" rtlCol="0" anchor="ctr"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ru-RU" sz="1200" dirty="0" err="1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" name="Текст 2">
            <a:extLst>
              <a:ext uri="{FF2B5EF4-FFF2-40B4-BE49-F238E27FC236}">
                <a16:creationId xmlns:a16="http://schemas.microsoft.com/office/drawing/2014/main" id="{3C169AE0-C503-8F4C-B94A-846EA436770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28650" y="6172440"/>
            <a:ext cx="10535343" cy="352186"/>
          </a:xfrm>
          <a:prstGeom prst="rect">
            <a:avLst/>
          </a:prstGeom>
        </p:spPr>
        <p:txBody>
          <a:bodyPr lIns="0" tIns="0" rIns="0" bIns="0" anchor="b"/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ru-RU" sz="900" kern="1200" dirty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B127C1A5-D0A1-D34A-9FEC-521B718488EF}"/>
              </a:ext>
            </a:extLst>
          </p:cNvPr>
          <p:cNvSpPr txBox="1"/>
          <p:nvPr userDrawn="1"/>
        </p:nvSpPr>
        <p:spPr>
          <a:xfrm>
            <a:off x="11261724" y="6165850"/>
            <a:ext cx="301626" cy="358775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616453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  <p15:guide id="2" pos="2570">
          <p15:clr>
            <a:srgbClr val="FBAE40"/>
          </p15:clr>
        </p15:guide>
        <p15:guide id="3" pos="2751">
          <p15:clr>
            <a:srgbClr val="FBAE40"/>
          </p15:clr>
        </p15:guide>
        <p15:guide id="4" pos="4929">
          <p15:clr>
            <a:srgbClr val="FBAE40"/>
          </p15:clr>
        </p15:guide>
        <p15:guide id="5" pos="5110">
          <p15:clr>
            <a:srgbClr val="FBAE40"/>
          </p15:clr>
        </p15:guide>
        <p15:guide id="6" orient="horz" pos="132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as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0AAF1A58-B704-594E-A2A7-52CB8A022253}"/>
              </a:ext>
            </a:extLst>
          </p:cNvPr>
          <p:cNvSpPr/>
          <p:nvPr userDrawn="1"/>
        </p:nvSpPr>
        <p:spPr>
          <a:xfrm>
            <a:off x="-1" y="2281186"/>
            <a:ext cx="12192001" cy="4576813"/>
          </a:xfrm>
          <a:prstGeom prst="rect">
            <a:avLst/>
          </a:prstGeom>
          <a:solidFill>
            <a:srgbClr val="F0F3F5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1200" dirty="0">
              <a:solidFill>
                <a:srgbClr val="FFFFFF"/>
              </a:solidFill>
            </a:endParaRPr>
          </a:p>
        </p:txBody>
      </p:sp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91AB4C8-7598-4134-9725-619CE9C59E7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196890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38" name="think-cell Slide" r:id="rId4" imgW="359" imgH="360" progId="TCLayout.ActiveDocument.1">
                  <p:embed/>
                </p:oleObj>
              </mc:Choice>
              <mc:Fallback>
                <p:oleObj name="think-cell Slide" r:id="rId4" imgW="359" imgH="36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91AB4C8-7598-4134-9725-619CE9C59E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1 by Boston Consulting Group. All rights reserved.</a:t>
            </a:r>
          </a:p>
        </p:txBody>
      </p: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A572A1C-A52E-AC49-AA97-4BE86DBFC7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620713"/>
            <a:ext cx="10933350" cy="585787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5E5C7011-D9E2-F840-B366-D04F8760846F}"/>
              </a:ext>
            </a:extLst>
          </p:cNvPr>
          <p:cNvSpPr txBox="1"/>
          <p:nvPr userDrawn="1"/>
        </p:nvSpPr>
        <p:spPr>
          <a:xfrm>
            <a:off x="2374900" y="3797300"/>
            <a:ext cx="0" cy="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bg1">
                    <a:lumMod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wrap="none" lIns="0" tIns="0" rIns="0" bIns="0" rtlCol="0" anchor="ctr"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ru-RU" sz="1200" dirty="0" err="1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Текст 2">
            <a:extLst>
              <a:ext uri="{FF2B5EF4-FFF2-40B4-BE49-F238E27FC236}">
                <a16:creationId xmlns:a16="http://schemas.microsoft.com/office/drawing/2014/main" id="{9677FE01-B879-D742-AAB3-4C49A2BB214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28650" y="6165850"/>
            <a:ext cx="10934700" cy="358775"/>
          </a:xfrm>
          <a:prstGeom prst="rect">
            <a:avLst/>
          </a:prstGeom>
        </p:spPr>
        <p:txBody>
          <a:bodyPr lIns="0" tIns="0" rIns="0" bIns="0" anchor="b"/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ru-RU" sz="900" kern="1200" dirty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394D6AE1-B309-3B4E-B329-DD147FB1A052}"/>
              </a:ext>
            </a:extLst>
          </p:cNvPr>
          <p:cNvSpPr txBox="1"/>
          <p:nvPr userDrawn="1"/>
        </p:nvSpPr>
        <p:spPr>
          <a:xfrm>
            <a:off x="11182350" y="6165850"/>
            <a:ext cx="381000" cy="358775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133904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  <p15:guide id="2" pos="2570">
          <p15:clr>
            <a:srgbClr val="FBAE40"/>
          </p15:clr>
        </p15:guide>
        <p15:guide id="3" pos="2751">
          <p15:clr>
            <a:srgbClr val="FBAE40"/>
          </p15:clr>
        </p15:guide>
        <p15:guide id="4" pos="4929">
          <p15:clr>
            <a:srgbClr val="FBAE40"/>
          </p15:clr>
        </p15:guide>
        <p15:guide id="5" pos="5110">
          <p15:clr>
            <a:srgbClr val="FBAE40"/>
          </p15:clr>
        </p15:guide>
        <p15:guide id="6" orient="horz" pos="132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Bas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0AAF1A58-B704-594E-A2A7-52CB8A022253}"/>
              </a:ext>
            </a:extLst>
          </p:cNvPr>
          <p:cNvSpPr/>
          <p:nvPr userDrawn="1"/>
        </p:nvSpPr>
        <p:spPr>
          <a:xfrm>
            <a:off x="-1" y="1"/>
            <a:ext cx="12192001" cy="2097088"/>
          </a:xfrm>
          <a:prstGeom prst="rect">
            <a:avLst/>
          </a:prstGeom>
          <a:solidFill>
            <a:srgbClr val="F0F3F5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1200" dirty="0">
              <a:solidFill>
                <a:srgbClr val="FFFFFF"/>
              </a:solidFill>
            </a:endParaRPr>
          </a:p>
        </p:txBody>
      </p:sp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91AB4C8-7598-4134-9725-619CE9C59E7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771450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62" name="think-cell Slide" r:id="rId4" imgW="359" imgH="360" progId="TCLayout.ActiveDocument.1">
                  <p:embed/>
                </p:oleObj>
              </mc:Choice>
              <mc:Fallback>
                <p:oleObj name="think-cell Slide" r:id="rId4" imgW="359" imgH="36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91AB4C8-7598-4134-9725-619CE9C59E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1 by Boston Consulting Group. All rights reserved.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5E5C7011-D9E2-F840-B366-D04F8760846F}"/>
              </a:ext>
            </a:extLst>
          </p:cNvPr>
          <p:cNvSpPr txBox="1"/>
          <p:nvPr userDrawn="1"/>
        </p:nvSpPr>
        <p:spPr>
          <a:xfrm>
            <a:off x="2374900" y="3797300"/>
            <a:ext cx="0" cy="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bg1">
                    <a:lumMod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wrap="none" lIns="0" tIns="0" rIns="0" bIns="0" rtlCol="0" anchor="ctr"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ru-RU" sz="1200" dirty="0" err="1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Текст 2">
            <a:extLst>
              <a:ext uri="{FF2B5EF4-FFF2-40B4-BE49-F238E27FC236}">
                <a16:creationId xmlns:a16="http://schemas.microsoft.com/office/drawing/2014/main" id="{9677FE01-B879-D742-AAB3-4C49A2BB214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28650" y="6165850"/>
            <a:ext cx="10934700" cy="358775"/>
          </a:xfrm>
          <a:prstGeom prst="rect">
            <a:avLst/>
          </a:prstGeom>
        </p:spPr>
        <p:txBody>
          <a:bodyPr lIns="0" tIns="0" rIns="0" bIns="0" anchor="b"/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ru-RU" sz="900" kern="1200" dirty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394D6AE1-B309-3B4E-B329-DD147FB1A052}"/>
              </a:ext>
            </a:extLst>
          </p:cNvPr>
          <p:cNvSpPr txBox="1"/>
          <p:nvPr userDrawn="1"/>
        </p:nvSpPr>
        <p:spPr>
          <a:xfrm>
            <a:off x="11182350" y="6165850"/>
            <a:ext cx="381000" cy="358775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5" name="Title Placeholder 1">
            <a:extLst>
              <a:ext uri="{FF2B5EF4-FFF2-40B4-BE49-F238E27FC236}">
                <a16:creationId xmlns:a16="http://schemas.microsoft.com/office/drawing/2014/main" id="{50ADCE9B-36EB-BB4C-BC58-81DA24CC346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620713"/>
            <a:ext cx="10933350" cy="585787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/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9437064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  <p15:guide id="2" pos="2570">
          <p15:clr>
            <a:srgbClr val="FBAE40"/>
          </p15:clr>
        </p15:guide>
        <p15:guide id="3" pos="2751">
          <p15:clr>
            <a:srgbClr val="FBAE40"/>
          </p15:clr>
        </p15:guide>
        <p15:guide id="4" pos="4929">
          <p15:clr>
            <a:srgbClr val="FBAE40"/>
          </p15:clr>
        </p15:guide>
        <p15:guide id="5" pos="5110">
          <p15:clr>
            <a:srgbClr val="FBAE40"/>
          </p15:clr>
        </p15:guide>
        <p15:guide id="6" orient="horz" pos="132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Bas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94A7171E-AF22-4F4E-BE48-9B82953D6855}"/>
              </a:ext>
            </a:extLst>
          </p:cNvPr>
          <p:cNvSpPr/>
          <p:nvPr userDrawn="1"/>
        </p:nvSpPr>
        <p:spPr>
          <a:xfrm flipH="1">
            <a:off x="0" y="0"/>
            <a:ext cx="4367213" cy="6858000"/>
          </a:xfrm>
          <a:prstGeom prst="rect">
            <a:avLst/>
          </a:prstGeom>
          <a:solidFill>
            <a:srgbClr val="F0F3F5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1200">
              <a:solidFill>
                <a:srgbClr val="FFFFFF"/>
              </a:solidFill>
            </a:endParaRPr>
          </a:p>
        </p:txBody>
      </p:sp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91AB4C8-7598-4134-9725-619CE9C59E7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813055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86" name="think-cell Slide" r:id="rId4" imgW="359" imgH="360" progId="TCLayout.ActiveDocument.1">
                  <p:embed/>
                </p:oleObj>
              </mc:Choice>
              <mc:Fallback>
                <p:oleObj name="think-cell Slide" r:id="rId4" imgW="359" imgH="36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91AB4C8-7598-4134-9725-619CE9C59E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1 by Boston Consulting Group. All rights reserved.</a:t>
            </a:r>
          </a:p>
        </p:txBody>
      </p: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A572A1C-A52E-AC49-AA97-4BE86DBFC7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620713"/>
            <a:ext cx="3449875" cy="863600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>
              <a:defRPr sz="2400"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5E5C7011-D9E2-F840-B366-D04F8760846F}"/>
              </a:ext>
            </a:extLst>
          </p:cNvPr>
          <p:cNvSpPr txBox="1"/>
          <p:nvPr userDrawn="1"/>
        </p:nvSpPr>
        <p:spPr>
          <a:xfrm>
            <a:off x="2374900" y="3797300"/>
            <a:ext cx="0" cy="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bg1">
                    <a:lumMod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wrap="none" lIns="0" tIns="0" rIns="0" bIns="0" rtlCol="0" anchor="ctr"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ru-RU" sz="1200" dirty="0" err="1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Текст 2">
            <a:extLst>
              <a:ext uri="{FF2B5EF4-FFF2-40B4-BE49-F238E27FC236}">
                <a16:creationId xmlns:a16="http://schemas.microsoft.com/office/drawing/2014/main" id="{9677FE01-B879-D742-AAB3-4C49A2BB214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656137" y="6165850"/>
            <a:ext cx="6603741" cy="358775"/>
          </a:xfrm>
          <a:prstGeom prst="rect">
            <a:avLst/>
          </a:prstGeom>
        </p:spPr>
        <p:txBody>
          <a:bodyPr lIns="0" tIns="0" rIns="0" bIns="0" anchor="b"/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ru-RU" sz="900" kern="1200" dirty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A8B2DBED-250B-6A4C-A9EC-90719EAD832C}"/>
              </a:ext>
            </a:extLst>
          </p:cNvPr>
          <p:cNvSpPr txBox="1"/>
          <p:nvPr userDrawn="1"/>
        </p:nvSpPr>
        <p:spPr>
          <a:xfrm>
            <a:off x="11261724" y="6165850"/>
            <a:ext cx="301626" cy="358775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532662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  <p15:guide id="2" pos="2570">
          <p15:clr>
            <a:srgbClr val="FBAE40"/>
          </p15:clr>
        </p15:guide>
        <p15:guide id="3" pos="2751">
          <p15:clr>
            <a:srgbClr val="FBAE40"/>
          </p15:clr>
        </p15:guide>
        <p15:guide id="4" pos="4929">
          <p15:clr>
            <a:srgbClr val="FBAE40"/>
          </p15:clr>
        </p15:guide>
        <p15:guide id="5" pos="5110">
          <p15:clr>
            <a:srgbClr val="FBAE40"/>
          </p15:clr>
        </p15:guide>
        <p15:guide id="6" orient="horz" pos="1321">
          <p15:clr>
            <a:srgbClr val="FBAE40"/>
          </p15:clr>
        </p15:guide>
        <p15:guide id="7" pos="2933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Bas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94A7171E-AF22-4F4E-BE48-9B82953D6855}"/>
              </a:ext>
            </a:extLst>
          </p:cNvPr>
          <p:cNvSpPr/>
          <p:nvPr userDrawn="1"/>
        </p:nvSpPr>
        <p:spPr>
          <a:xfrm flipH="1">
            <a:off x="0" y="0"/>
            <a:ext cx="4367213" cy="6858000"/>
          </a:xfrm>
          <a:prstGeom prst="rect">
            <a:avLst/>
          </a:prstGeom>
          <a:solidFill>
            <a:srgbClr val="F0F3F5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1200">
              <a:solidFill>
                <a:srgbClr val="FFFFFF"/>
              </a:solidFill>
            </a:endParaRPr>
          </a:p>
        </p:txBody>
      </p:sp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91AB4C8-7598-4134-9725-619CE9C59E7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449284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10" name="think-cell Slide" r:id="rId4" imgW="359" imgH="360" progId="TCLayout.ActiveDocument.1">
                  <p:embed/>
                </p:oleObj>
              </mc:Choice>
              <mc:Fallback>
                <p:oleObj name="think-cell Slide" r:id="rId4" imgW="359" imgH="36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91AB4C8-7598-4134-9725-619CE9C59E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1 by Boston Consulting Group. All rights reserved.</a:t>
            </a:r>
          </a:p>
        </p:txBody>
      </p: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A572A1C-A52E-AC49-AA97-4BE86DBFC7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15844" y="620713"/>
            <a:ext cx="2764032" cy="863600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>
              <a:defRPr sz="2400"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5E5C7011-D9E2-F840-B366-D04F8760846F}"/>
              </a:ext>
            </a:extLst>
          </p:cNvPr>
          <p:cNvSpPr txBox="1"/>
          <p:nvPr userDrawn="1"/>
        </p:nvSpPr>
        <p:spPr>
          <a:xfrm>
            <a:off x="2374900" y="3797300"/>
            <a:ext cx="0" cy="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bg1">
                    <a:lumMod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wrap="none" lIns="0" tIns="0" rIns="0" bIns="0" rtlCol="0" anchor="ctr"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ru-RU" sz="1200" dirty="0" err="1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Текст 2">
            <a:extLst>
              <a:ext uri="{FF2B5EF4-FFF2-40B4-BE49-F238E27FC236}">
                <a16:creationId xmlns:a16="http://schemas.microsoft.com/office/drawing/2014/main" id="{9677FE01-B879-D742-AAB3-4C49A2BB214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656137" y="6165850"/>
            <a:ext cx="6603741" cy="358775"/>
          </a:xfrm>
          <a:prstGeom prst="rect">
            <a:avLst/>
          </a:prstGeom>
        </p:spPr>
        <p:txBody>
          <a:bodyPr lIns="0" tIns="0" rIns="0" bIns="0" anchor="b"/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ru-RU" sz="900" kern="1200" dirty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A8B2DBED-250B-6A4C-A9EC-90719EAD832C}"/>
              </a:ext>
            </a:extLst>
          </p:cNvPr>
          <p:cNvSpPr txBox="1"/>
          <p:nvPr userDrawn="1"/>
        </p:nvSpPr>
        <p:spPr>
          <a:xfrm>
            <a:off x="11261724" y="6165850"/>
            <a:ext cx="301626" cy="358775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970716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  <p15:guide id="2" pos="2570">
          <p15:clr>
            <a:srgbClr val="FBAE40"/>
          </p15:clr>
        </p15:guide>
        <p15:guide id="3" pos="2751">
          <p15:clr>
            <a:srgbClr val="FBAE40"/>
          </p15:clr>
        </p15:guide>
        <p15:guide id="4" pos="4929">
          <p15:clr>
            <a:srgbClr val="FBAE40"/>
          </p15:clr>
        </p15:guide>
        <p15:guide id="5" pos="5110">
          <p15:clr>
            <a:srgbClr val="FBAE40"/>
          </p15:clr>
        </p15:guide>
        <p15:guide id="6" orient="horz" pos="1321">
          <p15:clr>
            <a:srgbClr val="FBAE40"/>
          </p15:clr>
        </p15:guide>
        <p15:guide id="7" pos="2933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as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9D341495-3393-A24F-BFF9-60FDF960EC55}"/>
              </a:ext>
            </a:extLst>
          </p:cNvPr>
          <p:cNvSpPr/>
          <p:nvPr userDrawn="1"/>
        </p:nvSpPr>
        <p:spPr>
          <a:xfrm>
            <a:off x="4367213" y="0"/>
            <a:ext cx="7824787" cy="6858000"/>
          </a:xfrm>
          <a:prstGeom prst="rect">
            <a:avLst/>
          </a:prstGeom>
          <a:solidFill>
            <a:srgbClr val="F0F3F5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1200">
              <a:solidFill>
                <a:srgbClr val="FFFFFF"/>
              </a:solidFill>
            </a:endParaRPr>
          </a:p>
        </p:txBody>
      </p:sp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91AB4C8-7598-4134-9725-619CE9C59E7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711072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34" name="think-cell Slide" r:id="rId4" imgW="359" imgH="360" progId="TCLayout.ActiveDocument.1">
                  <p:embed/>
                </p:oleObj>
              </mc:Choice>
              <mc:Fallback>
                <p:oleObj name="think-cell Slide" r:id="rId4" imgW="359" imgH="36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91AB4C8-7598-4134-9725-619CE9C59E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1 by Boston Consulting Group. All rights reserved.</a:t>
            </a:r>
          </a:p>
        </p:txBody>
      </p: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A572A1C-A52E-AC49-AA97-4BE86DBFC7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620713"/>
            <a:ext cx="3449875" cy="863600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5E5C7011-D9E2-F840-B366-D04F8760846F}"/>
              </a:ext>
            </a:extLst>
          </p:cNvPr>
          <p:cNvSpPr txBox="1"/>
          <p:nvPr userDrawn="1"/>
        </p:nvSpPr>
        <p:spPr>
          <a:xfrm>
            <a:off x="2374900" y="3797300"/>
            <a:ext cx="0" cy="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bg1">
                    <a:lumMod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wrap="none" lIns="0" tIns="0" rIns="0" bIns="0" rtlCol="0" anchor="ctr"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ru-RU" sz="1200" dirty="0" err="1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Текст 2">
            <a:extLst>
              <a:ext uri="{FF2B5EF4-FFF2-40B4-BE49-F238E27FC236}">
                <a16:creationId xmlns:a16="http://schemas.microsoft.com/office/drawing/2014/main" id="{9677FE01-B879-D742-AAB3-4C49A2BB214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28650" y="6165850"/>
            <a:ext cx="3451225" cy="358775"/>
          </a:xfrm>
          <a:prstGeom prst="rect">
            <a:avLst/>
          </a:prstGeom>
        </p:spPr>
        <p:txBody>
          <a:bodyPr lIns="0" tIns="0" rIns="0" bIns="0" anchor="b"/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ru-RU" sz="900" kern="1200" dirty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5A4195C4-BED0-9C47-AD6B-E1FAB0922703}"/>
              </a:ext>
            </a:extLst>
          </p:cNvPr>
          <p:cNvSpPr txBox="1"/>
          <p:nvPr userDrawn="1"/>
        </p:nvSpPr>
        <p:spPr>
          <a:xfrm>
            <a:off x="11261724" y="6165850"/>
            <a:ext cx="301626" cy="358775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336748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  <p15:guide id="2" pos="2570" userDrawn="1">
          <p15:clr>
            <a:srgbClr val="FBAE40"/>
          </p15:clr>
        </p15:guide>
        <p15:guide id="3" pos="2751">
          <p15:clr>
            <a:srgbClr val="FBAE40"/>
          </p15:clr>
        </p15:guide>
        <p15:guide id="4" pos="4929">
          <p15:clr>
            <a:srgbClr val="FBAE40"/>
          </p15:clr>
        </p15:guide>
        <p15:guide id="5" pos="5110">
          <p15:clr>
            <a:srgbClr val="FBAE40"/>
          </p15:clr>
        </p15:guide>
        <p15:guide id="6" orient="horz" pos="132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7">
            <a:extLst>
              <a:ext uri="{FF2B5EF4-FFF2-40B4-BE49-F238E27FC236}">
                <a16:creationId xmlns:a16="http://schemas.microsoft.com/office/drawing/2014/main" id="{FA086309-2A04-2D4E-884A-36F2FF40C56E}"/>
              </a:ext>
            </a:extLst>
          </p:cNvPr>
          <p:cNvSpPr/>
          <p:nvPr userDrawn="1"/>
        </p:nvSpPr>
        <p:spPr>
          <a:xfrm flipH="1">
            <a:off x="-1" y="0"/>
            <a:ext cx="12192000" cy="6858000"/>
          </a:xfrm>
          <a:prstGeom prst="rect">
            <a:avLst/>
          </a:prstGeom>
          <a:solidFill>
            <a:srgbClr val="F0F3F5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1200">
              <a:solidFill>
                <a:srgbClr val="FFFFFF"/>
              </a:solidFill>
            </a:endParaRPr>
          </a:p>
        </p:txBody>
      </p:sp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91AB4C8-7598-4134-9725-619CE9C59E7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265167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58" name="think-cell Slide" r:id="rId4" imgW="359" imgH="360" progId="TCLayout.ActiveDocument.1">
                  <p:embed/>
                </p:oleObj>
              </mc:Choice>
              <mc:Fallback>
                <p:oleObj name="think-cell Slide" r:id="rId4" imgW="359" imgH="36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91AB4C8-7598-4134-9725-619CE9C59E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1 by Boston Consulting Group. All rights reserved.</a:t>
            </a:r>
          </a:p>
        </p:txBody>
      </p:sp>
      <p:sp>
        <p:nvSpPr>
          <p:cNvPr id="26" name="Title Placeholder 1">
            <a:extLst>
              <a:ext uri="{FF2B5EF4-FFF2-40B4-BE49-F238E27FC236}">
                <a16:creationId xmlns:a16="http://schemas.microsoft.com/office/drawing/2014/main" id="{F43B35C4-368C-B24D-9B26-53107CCA63A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0000" y="2330663"/>
            <a:ext cx="10933350" cy="1742591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algn="ctr" defTabSz="914400" rtl="0" eaLnBrk="1" latinLnBrk="0" hangingPunct="1">
              <a:lnSpc>
                <a:spcPct val="93000"/>
              </a:lnSpc>
              <a:spcBef>
                <a:spcPct val="0"/>
              </a:spcBef>
              <a:buNone/>
              <a:defRPr lang="en-US" sz="2400" kern="1200" baseline="0" dirty="0">
                <a:solidFill>
                  <a:schemeClr val="tx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EBB85FFD-C664-AF4D-B11C-E268A2BA6A44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5519426" y="625905"/>
            <a:ext cx="1153148" cy="1271242"/>
          </a:xfrm>
          <a:prstGeom prst="rect">
            <a:avLst/>
          </a:prstGeom>
        </p:spPr>
      </p:pic>
      <p:pic>
        <p:nvPicPr>
          <p:cNvPr id="13" name="Рисунок 12">
            <a:extLst>
              <a:ext uri="{FF2B5EF4-FFF2-40B4-BE49-F238E27FC236}">
                <a16:creationId xmlns:a16="http://schemas.microsoft.com/office/drawing/2014/main" id="{685E526D-63CD-A040-BAF7-D9204F92421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rcRect l="1623" t="-33462" r="1414" b="5091"/>
          <a:stretch/>
        </p:blipFill>
        <p:spPr>
          <a:xfrm>
            <a:off x="0" y="3837171"/>
            <a:ext cx="12192000" cy="3020829"/>
          </a:xfrm>
          <a:prstGeom prst="rect">
            <a:avLst/>
          </a:prstGeom>
        </p:spPr>
      </p:pic>
      <p:sp>
        <p:nvSpPr>
          <p:cNvPr id="14" name="Текст 2">
            <a:extLst>
              <a:ext uri="{FF2B5EF4-FFF2-40B4-BE49-F238E27FC236}">
                <a16:creationId xmlns:a16="http://schemas.microsoft.com/office/drawing/2014/main" id="{F6B2BE3E-9CE9-004C-A6D1-393F2D79260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28650" y="6165850"/>
            <a:ext cx="10933350" cy="358775"/>
          </a:xfrm>
          <a:prstGeom prst="rect">
            <a:avLst/>
          </a:prstGeom>
        </p:spPr>
        <p:txBody>
          <a:bodyPr lIns="0" tIns="0" rIns="0" bIns="0" anchor="b"/>
          <a:lstStyle>
            <a:lvl1pPr marL="0" indent="0" algn="ctr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ru-RU" sz="900" kern="1200" dirty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8726719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  <p15:guide id="2" pos="2570">
          <p15:clr>
            <a:srgbClr val="FBAE40"/>
          </p15:clr>
        </p15:guide>
        <p15:guide id="3" pos="2751">
          <p15:clr>
            <a:srgbClr val="FBAE40"/>
          </p15:clr>
        </p15:guide>
        <p15:guide id="4" pos="4929">
          <p15:clr>
            <a:srgbClr val="FBAE40"/>
          </p15:clr>
        </p15:guide>
        <p15:guide id="5" pos="5110">
          <p15:clr>
            <a:srgbClr val="FBAE40"/>
          </p15:clr>
        </p15:guide>
        <p15:guide id="6" orient="horz" pos="132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7">
            <a:extLst>
              <a:ext uri="{FF2B5EF4-FFF2-40B4-BE49-F238E27FC236}">
                <a16:creationId xmlns:a16="http://schemas.microsoft.com/office/drawing/2014/main" id="{FA086309-2A04-2D4E-884A-36F2FF40C56E}"/>
              </a:ext>
            </a:extLst>
          </p:cNvPr>
          <p:cNvSpPr/>
          <p:nvPr userDrawn="1"/>
        </p:nvSpPr>
        <p:spPr>
          <a:xfrm flipH="1">
            <a:off x="-1" y="3365500"/>
            <a:ext cx="12192000" cy="3492500"/>
          </a:xfrm>
          <a:prstGeom prst="rect">
            <a:avLst/>
          </a:prstGeom>
          <a:solidFill>
            <a:srgbClr val="F0F3F5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1200">
              <a:solidFill>
                <a:srgbClr val="FFFFFF"/>
              </a:solidFill>
            </a:endParaRPr>
          </a:p>
        </p:txBody>
      </p:sp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91AB4C8-7598-4134-9725-619CE9C59E7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919143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82" name="think-cell Slide" r:id="rId4" imgW="359" imgH="360" progId="TCLayout.ActiveDocument.1">
                  <p:embed/>
                </p:oleObj>
              </mc:Choice>
              <mc:Fallback>
                <p:oleObj name="think-cell Slide" r:id="rId4" imgW="359" imgH="36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91AB4C8-7598-4134-9725-619CE9C59E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1 by Boston Consulting Group. All rights reserved.</a:t>
            </a:r>
          </a:p>
        </p:txBody>
      </p:sp>
      <p:sp>
        <p:nvSpPr>
          <p:cNvPr id="26" name="Title Placeholder 1">
            <a:extLst>
              <a:ext uri="{FF2B5EF4-FFF2-40B4-BE49-F238E27FC236}">
                <a16:creationId xmlns:a16="http://schemas.microsoft.com/office/drawing/2014/main" id="{F43B35C4-368C-B24D-9B26-53107CCA63A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8650" y="4070644"/>
            <a:ext cx="10934700" cy="2095206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algn="ctr" defTabSz="914400" rtl="0" eaLnBrk="1" latinLnBrk="0" hangingPunct="1">
              <a:lnSpc>
                <a:spcPct val="93000"/>
              </a:lnSpc>
              <a:spcBef>
                <a:spcPct val="0"/>
              </a:spcBef>
              <a:buNone/>
              <a:defRPr lang="en-US" sz="2400" kern="1200" baseline="0" dirty="0">
                <a:solidFill>
                  <a:schemeClr val="tx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1F037764-A294-3745-B6FB-D21BB3BC115D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rcRect/>
          <a:stretch/>
        </p:blipFill>
        <p:spPr>
          <a:xfrm>
            <a:off x="0" y="0"/>
            <a:ext cx="12192000" cy="3365500"/>
          </a:xfrm>
          <a:prstGeom prst="rect">
            <a:avLst/>
          </a:prstGeom>
        </p:spPr>
      </p:pic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EBB85FFD-C664-AF4D-B11C-E268A2BA6A44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5519425" y="2631117"/>
            <a:ext cx="1153148" cy="1271242"/>
          </a:xfrm>
          <a:prstGeom prst="rect">
            <a:avLst/>
          </a:prstGeom>
        </p:spPr>
      </p:pic>
      <p:sp>
        <p:nvSpPr>
          <p:cNvPr id="9" name="Текст 2">
            <a:extLst>
              <a:ext uri="{FF2B5EF4-FFF2-40B4-BE49-F238E27FC236}">
                <a16:creationId xmlns:a16="http://schemas.microsoft.com/office/drawing/2014/main" id="{325075D5-80EF-2F4C-905F-C3379D62983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28650" y="6165850"/>
            <a:ext cx="10933350" cy="358775"/>
          </a:xfrm>
          <a:prstGeom prst="rect">
            <a:avLst/>
          </a:prstGeom>
        </p:spPr>
        <p:txBody>
          <a:bodyPr lIns="0" tIns="0" rIns="0" bIns="0" anchor="b"/>
          <a:lstStyle>
            <a:lvl1pPr marL="0" indent="0" algn="ctr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ru-RU" sz="900" kern="1200" dirty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17926879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  <p15:guide id="2" pos="2570">
          <p15:clr>
            <a:srgbClr val="FBAE40"/>
          </p15:clr>
        </p15:guide>
        <p15:guide id="3" pos="2751">
          <p15:clr>
            <a:srgbClr val="FBAE40"/>
          </p15:clr>
        </p15:guide>
        <p15:guide id="4" pos="4929">
          <p15:clr>
            <a:srgbClr val="FBAE40"/>
          </p15:clr>
        </p15:guide>
        <p15:guide id="5" pos="5110">
          <p15:clr>
            <a:srgbClr val="FBAE40"/>
          </p15:clr>
        </p15:guide>
        <p15:guide id="6" orient="horz" pos="132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9"/>
            </p:custDataLst>
            <p:extLst>
              <p:ext uri="{D42A27DB-BD31-4B8C-83A1-F6EECF244321}">
                <p14:modId xmlns:p14="http://schemas.microsoft.com/office/powerpoint/2010/main" val="370339316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6" name="think-cell Slide" r:id="rId20" imgW="270" imgH="270" progId="TCLayout.ActiveDocument.1">
                  <p:embed/>
                </p:oleObj>
              </mc:Choice>
              <mc:Fallback>
                <p:oleObj name="think-cell Slide" r:id="rId2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3642102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338" r:id="rId1"/>
    <p:sldLayoutId id="2147485313" r:id="rId2"/>
    <p:sldLayoutId id="2147485319" r:id="rId3"/>
    <p:sldLayoutId id="2147485339" r:id="rId4"/>
    <p:sldLayoutId id="2147485320" r:id="rId5"/>
    <p:sldLayoutId id="2147485340" r:id="rId6"/>
    <p:sldLayoutId id="2147485325" r:id="rId7"/>
    <p:sldLayoutId id="2147485322" r:id="rId8"/>
    <p:sldLayoutId id="2147485337" r:id="rId9"/>
    <p:sldLayoutId id="2147485332" r:id="rId10"/>
    <p:sldLayoutId id="2147485335" r:id="rId11"/>
    <p:sldLayoutId id="2147485334" r:id="rId12"/>
    <p:sldLayoutId id="2147485330" r:id="rId13"/>
    <p:sldLayoutId id="2147485327" r:id="rId14"/>
    <p:sldLayoutId id="2147485342" r:id="rId15"/>
    <p:sldLayoutId id="2147485341" r:id="rId16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kern="1200">
          <a:solidFill>
            <a:schemeClr val="tx1"/>
          </a:solidFill>
          <a:latin typeface="+mj-lt"/>
          <a:ea typeface="+mj-ea"/>
          <a:cs typeface="+mj-cs"/>
          <a:sym typeface="+mj-lt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tx1"/>
          </a:solidFill>
          <a:latin typeface="+mn-lt"/>
          <a:ea typeface="+mn-ea"/>
          <a:cs typeface="+mn-cs"/>
          <a:sym typeface="+mn-lt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tx1"/>
          </a:solidFill>
          <a:latin typeface="+mn-lt"/>
          <a:ea typeface="+mn-ea"/>
          <a:cs typeface="+mn-cs"/>
          <a:sym typeface="+mn-lt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tx1"/>
          </a:solidFill>
          <a:latin typeface="+mn-lt"/>
          <a:ea typeface="+mn-ea"/>
          <a:cs typeface="+mn-cs"/>
          <a:sym typeface="+mn-lt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tx2"/>
          </a:solidFill>
          <a:latin typeface="+mn-lt"/>
          <a:ea typeface="+mn-ea"/>
          <a:cs typeface="+mn-cs"/>
          <a:sym typeface="+mn-lt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tx1"/>
          </a:solidFill>
          <a:latin typeface="+mn-lt"/>
          <a:ea typeface="+mn-ea"/>
          <a:cs typeface="+mn-cs"/>
          <a:sym typeface="+mn-lt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tx1"/>
          </a:solidFill>
          <a:latin typeface="+mn-lt"/>
          <a:ea typeface="+mn-ea"/>
          <a:cs typeface="+mn-cs"/>
          <a:sym typeface="+mn-lt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tx1"/>
          </a:solidFill>
          <a:latin typeface="+mn-lt"/>
          <a:ea typeface="+mn-ea"/>
          <a:cs typeface="+mn-cs"/>
          <a:sym typeface="+mn-lt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tx2"/>
          </a:solidFill>
          <a:latin typeface="+mn-lt"/>
          <a:ea typeface="+mn-ea"/>
          <a:cs typeface="+mn-cs"/>
          <a:sym typeface="+mn-lt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tx2"/>
          </a:solidFill>
          <a:latin typeface="+mn-lt"/>
          <a:ea typeface="+mn-ea"/>
          <a:cs typeface="+mn-cs"/>
          <a:sym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935">
          <p15:clr>
            <a:srgbClr val="F26B43"/>
          </p15:clr>
        </p15:guide>
        <p15:guide id="2" pos="396">
          <p15:clr>
            <a:srgbClr val="F26B43"/>
          </p15:clr>
        </p15:guide>
        <p15:guide id="3" pos="7284">
          <p15:clr>
            <a:srgbClr val="F26B43"/>
          </p15:clr>
        </p15:guide>
        <p15:guide id="4" orient="horz" pos="4110">
          <p15:clr>
            <a:srgbClr val="F26B43"/>
          </p15:clr>
        </p15:guide>
        <p15:guide id="5" orient="horz" pos="391">
          <p15:clr>
            <a:srgbClr val="F26B43"/>
          </p15:clr>
        </p15:guide>
        <p15:guide id="6" orient="horz" pos="388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jpg"/><Relationship Id="rId2" Type="http://schemas.openxmlformats.org/officeDocument/2006/relationships/image" Target="../media/image51.jp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3.jpg"/><Relationship Id="rId1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png"/><Relationship Id="rId2" Type="http://schemas.openxmlformats.org/officeDocument/2006/relationships/image" Target="../media/image54.jpeg"/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6.jpeg"/><Relationship Id="rId1" Type="http://schemas.openxmlformats.org/officeDocument/2006/relationships/slideLayout" Target="../slideLayouts/slideLayout5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8.jpg"/><Relationship Id="rId2" Type="http://schemas.openxmlformats.org/officeDocument/2006/relationships/image" Target="../media/image57.jp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9.jpeg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jpeg"/><Relationship Id="rId2" Type="http://schemas.openxmlformats.org/officeDocument/2006/relationships/image" Target="../media/image60.jpeg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62.jpeg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3.jpeg"/><Relationship Id="rId1" Type="http://schemas.openxmlformats.org/officeDocument/2006/relationships/slideLayout" Target="../slideLayouts/slideLayout7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svg"/><Relationship Id="rId3" Type="http://schemas.openxmlformats.org/officeDocument/2006/relationships/image" Target="../media/image15.png"/><Relationship Id="rId7" Type="http://schemas.openxmlformats.org/officeDocument/2006/relationships/image" Target="../media/image19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8.svg"/><Relationship Id="rId5" Type="http://schemas.openxmlformats.org/officeDocument/2006/relationships/image" Target="../media/image17.png"/><Relationship Id="rId10" Type="http://schemas.openxmlformats.org/officeDocument/2006/relationships/image" Target="../media/image22.svg"/><Relationship Id="rId4" Type="http://schemas.openxmlformats.org/officeDocument/2006/relationships/image" Target="../media/image16.svg"/><Relationship Id="rId9" Type="http://schemas.openxmlformats.org/officeDocument/2006/relationships/image" Target="../media/image21.png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4.jpeg"/><Relationship Id="rId1" Type="http://schemas.openxmlformats.org/officeDocument/2006/relationships/slideLayout" Target="../slideLayouts/slideLayout4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5.png"/><Relationship Id="rId1" Type="http://schemas.openxmlformats.org/officeDocument/2006/relationships/slideLayout" Target="../slideLayouts/slideLayout4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7.png"/><Relationship Id="rId2" Type="http://schemas.openxmlformats.org/officeDocument/2006/relationships/image" Target="../media/image66.png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8.jpeg"/><Relationship Id="rId1" Type="http://schemas.openxmlformats.org/officeDocument/2006/relationships/slideLayout" Target="../slideLayouts/slideLayout7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jp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.svg"/><Relationship Id="rId13" Type="http://schemas.openxmlformats.org/officeDocument/2006/relationships/image" Target="../media/image33.png"/><Relationship Id="rId3" Type="http://schemas.openxmlformats.org/officeDocument/2006/relationships/image" Target="../media/image25.png"/><Relationship Id="rId7" Type="http://schemas.openxmlformats.org/officeDocument/2006/relationships/image" Target="../media/image29.png"/><Relationship Id="rId12" Type="http://schemas.openxmlformats.org/officeDocument/2006/relationships/image" Target="../media/image32.sv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28.svg"/><Relationship Id="rId11" Type="http://schemas.openxmlformats.org/officeDocument/2006/relationships/image" Target="../media/image31.png"/><Relationship Id="rId5" Type="http://schemas.openxmlformats.org/officeDocument/2006/relationships/image" Target="../media/image27.png"/><Relationship Id="rId10" Type="http://schemas.openxmlformats.org/officeDocument/2006/relationships/image" Target="../media/image20.svg"/><Relationship Id="rId4" Type="http://schemas.openxmlformats.org/officeDocument/2006/relationships/image" Target="../media/image26.svg"/><Relationship Id="rId9" Type="http://schemas.openxmlformats.org/officeDocument/2006/relationships/image" Target="../media/image19.png"/><Relationship Id="rId14" Type="http://schemas.openxmlformats.org/officeDocument/2006/relationships/image" Target="../media/image34.sv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jpg"/><Relationship Id="rId1" Type="http://schemas.openxmlformats.org/officeDocument/2006/relationships/slideLayout" Target="../slideLayouts/slideLayout15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42.png"/><Relationship Id="rId3" Type="http://schemas.openxmlformats.org/officeDocument/2006/relationships/image" Target="../media/image37.png"/><Relationship Id="rId7" Type="http://schemas.openxmlformats.org/officeDocument/2006/relationships/image" Target="../media/image41.png"/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40.png"/><Relationship Id="rId5" Type="http://schemas.openxmlformats.org/officeDocument/2006/relationships/image" Target="../media/image39.png"/><Relationship Id="rId10" Type="http://schemas.openxmlformats.org/officeDocument/2006/relationships/image" Target="../media/image44.png"/><Relationship Id="rId4" Type="http://schemas.openxmlformats.org/officeDocument/2006/relationships/image" Target="../media/image38.png"/><Relationship Id="rId9" Type="http://schemas.openxmlformats.org/officeDocument/2006/relationships/image" Target="../media/image43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jpeg"/><Relationship Id="rId2" Type="http://schemas.openxmlformats.org/officeDocument/2006/relationships/image" Target="../media/image45.jpe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48.jpeg"/><Relationship Id="rId4" Type="http://schemas.openxmlformats.org/officeDocument/2006/relationships/image" Target="../media/image47.jpe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jpeg"/><Relationship Id="rId2" Type="http://schemas.openxmlformats.org/officeDocument/2006/relationships/image" Target="../media/image49.jp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CD38B8E5-E5A0-D247-9975-B883D73E4959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prstGeom prst="rect">
            <a:avLst/>
          </a:prstGeom>
        </p:spPr>
        <p:txBody>
          <a:bodyPr/>
          <a:lstStyle/>
          <a:p>
            <a:r>
              <a:rPr lang="ru-RU" b="0" cap="none" dirty="0"/>
              <a:t>Москва, 2021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9DC0CCEB-BD7A-E94E-8763-532A0BC7872B}"/>
              </a:ext>
            </a:extLst>
          </p:cNvPr>
          <p:cNvSpPr>
            <a:spLocks noGrp="1"/>
          </p:cNvSpPr>
          <p:nvPr>
            <p:ph type="ctrTitle"/>
          </p:nvPr>
        </p:nvSpPr>
        <p:spPr>
          <a:prstGeom prst="rect">
            <a:avLst/>
          </a:prstGeom>
        </p:spPr>
        <p:txBody>
          <a:bodyPr>
            <a:normAutofit/>
          </a:bodyPr>
          <a:lstStyle/>
          <a:p>
            <a:r>
              <a:rPr lang="ru-RU" sz="4200" b="1" dirty="0"/>
              <a:t>Профессиональное развитие на Дальнем Востоке</a:t>
            </a:r>
            <a:endParaRPr lang="ru-RU" sz="4200" dirty="0"/>
          </a:p>
        </p:txBody>
      </p:sp>
      <p:sp>
        <p:nvSpPr>
          <p:cNvPr id="4" name="Subtitle 3">
            <a:extLst>
              <a:ext uri="{FF2B5EF4-FFF2-40B4-BE49-F238E27FC236}">
                <a16:creationId xmlns:a16="http://schemas.microsoft.com/office/drawing/2014/main" id="{69A001F0-3CB6-E54C-BB57-B792C1209AD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prstGeom prst="rect">
            <a:avLst/>
          </a:prstGeom>
        </p:spPr>
        <p:txBody>
          <a:bodyPr/>
          <a:lstStyle/>
          <a:p>
            <a:r>
              <a:rPr lang="ru-RU" dirty="0">
                <a:solidFill>
                  <a:schemeClr val="bg1"/>
                </a:solidFill>
              </a:rPr>
              <a:t>Возможно, Вы этого не знали</a:t>
            </a:r>
          </a:p>
        </p:txBody>
      </p:sp>
    </p:spTree>
    <p:extLst>
      <p:ext uri="{BB962C8B-B14F-4D97-AF65-F5344CB8AC3E}">
        <p14:creationId xmlns:p14="http://schemas.microsoft.com/office/powerpoint/2010/main" val="25265451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oogle Shape;118;p21" descr="Картинки по запросу &quot;остров одайба фото&quot;">
            <a:extLst>
              <a:ext uri="{FF2B5EF4-FFF2-40B4-BE49-F238E27FC236}">
                <a16:creationId xmlns:a16="http://schemas.microsoft.com/office/drawing/2014/main" id="{D44D13D8-423A-4E93-A249-984EA8AFD802}"/>
              </a:ext>
            </a:extLst>
          </p:cNvPr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93616" y="1490271"/>
            <a:ext cx="6410084" cy="4487058"/>
          </a:xfrm>
          <a:prstGeom prst="rect">
            <a:avLst/>
          </a:prstGeom>
          <a:solidFill>
            <a:srgbClr val="ECECEC"/>
          </a:solidFill>
          <a:ln w="190500" cap="rnd" cmpd="sng">
            <a:solidFill>
              <a:srgbClr val="FFFFFF"/>
            </a:solidFill>
            <a:prstDash val="solid"/>
            <a:round/>
            <a:headEnd type="none" w="sm" len="sm"/>
            <a:tailEnd type="none" w="sm" len="sm"/>
          </a:ln>
          <a:effectLst>
            <a:outerShdw blurRad="50000" algn="tl" rotWithShape="0">
              <a:srgbClr val="000000">
                <a:alpha val="40784"/>
              </a:srgbClr>
            </a:outerShdw>
          </a:effectLst>
        </p:spPr>
      </p:pic>
      <p:pic>
        <p:nvPicPr>
          <p:cNvPr id="5" name="Google Shape;104;p19">
            <a:extLst>
              <a:ext uri="{FF2B5EF4-FFF2-40B4-BE49-F238E27FC236}">
                <a16:creationId xmlns:a16="http://schemas.microsoft.com/office/drawing/2014/main" id="{9ECBF0B6-6BF6-4646-9B89-A432E4E3E292}"/>
              </a:ext>
            </a:extLst>
          </p:cNvPr>
          <p:cNvPicPr preferRelativeResize="0"/>
          <p:nvPr/>
        </p:nvPicPr>
        <p:blipFill rotWithShape="1">
          <a:blip r:embed="rId3">
            <a:alphaModFix/>
          </a:blip>
          <a:srcRect l="15282" r="13917" b="1"/>
          <a:stretch/>
        </p:blipFill>
        <p:spPr>
          <a:xfrm>
            <a:off x="224821" y="206583"/>
            <a:ext cx="4519899" cy="4792137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0759364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5">
            <a:extLst>
              <a:ext uri="{FF2B5EF4-FFF2-40B4-BE49-F238E27FC236}">
                <a16:creationId xmlns:a16="http://schemas.microsoft.com/office/drawing/2014/main" id="{463DDA8A-CEF4-3B48-8543-8956C9B0B3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b="1" dirty="0">
                <a:solidFill>
                  <a:schemeClr val="tx2"/>
                </a:solidFill>
              </a:rPr>
              <a:t>МИФ 3</a:t>
            </a:r>
            <a:br>
              <a:rPr lang="ru-RU" b="1" dirty="0">
                <a:solidFill>
                  <a:schemeClr val="tx2"/>
                </a:solidFill>
              </a:rPr>
            </a:br>
            <a:br>
              <a:rPr lang="ru-RU" b="1" dirty="0">
                <a:solidFill>
                  <a:schemeClr val="tx2"/>
                </a:solidFill>
              </a:rPr>
            </a:br>
            <a:r>
              <a:rPr lang="ru-RU" b="1" dirty="0">
                <a:solidFill>
                  <a:schemeClr val="tx2"/>
                </a:solidFill>
              </a:rPr>
              <a:t>Образование должно быть только высшим</a:t>
            </a:r>
          </a:p>
        </p:txBody>
      </p:sp>
      <p:pic>
        <p:nvPicPr>
          <p:cNvPr id="4" name="Рисунок 3" descr="Изображение выглядит как текст&#10;&#10;Автоматически созданное описание">
            <a:extLst>
              <a:ext uri="{FF2B5EF4-FFF2-40B4-BE49-F238E27FC236}">
                <a16:creationId xmlns:a16="http://schemas.microsoft.com/office/drawing/2014/main" id="{10DA1D98-BD61-4D85-954D-D5383B7E092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72341" y="537921"/>
            <a:ext cx="6479572" cy="58073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85903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2" descr="Российские колледжи стали международными площадками для апробации новых технологий и форматов">
            <a:extLst>
              <a:ext uri="{FF2B5EF4-FFF2-40B4-BE49-F238E27FC236}">
                <a16:creationId xmlns:a16="http://schemas.microsoft.com/office/drawing/2014/main" id="{37113F1C-C4AC-4C2A-BC47-3A9B4AA7070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67201" y="856123"/>
            <a:ext cx="7162994" cy="48295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F264A70C-5B72-48A2-B310-FF909B8CF88E}"/>
              </a:ext>
            </a:extLst>
          </p:cNvPr>
          <p:cNvSpPr txBox="1"/>
          <p:nvPr/>
        </p:nvSpPr>
        <p:spPr>
          <a:xfrm>
            <a:off x="605638" y="2771958"/>
            <a:ext cx="3285641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ru-RU" dirty="0"/>
              <a:t>Региональные и Российские чемпионаты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ru-RU" dirty="0"/>
              <a:t>Демонстрационный экзамен</a:t>
            </a:r>
          </a:p>
        </p:txBody>
      </p:sp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913DB8BB-2248-4826-B555-305D06EFB8A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61805" y="733780"/>
            <a:ext cx="1981200" cy="11715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38456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3">
            <a:extLst>
              <a:ext uri="{FF2B5EF4-FFF2-40B4-BE49-F238E27FC236}">
                <a16:creationId xmlns:a16="http://schemas.microsoft.com/office/drawing/2014/main" id="{B796E357-AFE0-BB4E-B384-EE0F5663AC1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b="1" dirty="0">
                <a:solidFill>
                  <a:schemeClr val="tx2"/>
                </a:solidFill>
              </a:rPr>
              <a:t>МИФ 4</a:t>
            </a:r>
            <a:br>
              <a:rPr lang="ru-RU" b="1" dirty="0">
                <a:solidFill>
                  <a:schemeClr val="tx2"/>
                </a:solidFill>
              </a:rPr>
            </a:br>
            <a:br>
              <a:rPr lang="ru-RU" b="1" dirty="0">
                <a:solidFill>
                  <a:schemeClr val="tx2"/>
                </a:solidFill>
              </a:rPr>
            </a:br>
            <a:r>
              <a:rPr lang="ru-RU" b="1" dirty="0">
                <a:solidFill>
                  <a:schemeClr val="tx2"/>
                </a:solidFill>
              </a:rPr>
              <a:t>ОБРАЗОВАНИЕ ПОЛУЧАЮТ ОДИН РАЗ НА ВСЮ ЖИЗНЬ</a:t>
            </a:r>
          </a:p>
        </p:txBody>
      </p:sp>
      <p:pic>
        <p:nvPicPr>
          <p:cNvPr id="6" name="Picture 2" descr="Как менялись представления о Вселенной / Newtonew: новости сетевого  образования">
            <a:extLst>
              <a:ext uri="{FF2B5EF4-FFF2-40B4-BE49-F238E27FC236}">
                <a16:creationId xmlns:a16="http://schemas.microsoft.com/office/drawing/2014/main" id="{4C1597DE-1BC7-4B09-859D-E29718E7D19B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130" r="9797" b="-1"/>
          <a:stretch/>
        </p:blipFill>
        <p:spPr bwMode="auto">
          <a:xfrm>
            <a:off x="4554585" y="168186"/>
            <a:ext cx="6806844" cy="5889739"/>
          </a:xfrm>
          <a:custGeom>
            <a:avLst/>
            <a:gdLst/>
            <a:ahLst/>
            <a:cxnLst/>
            <a:rect l="l" t="t" r="r" b="b"/>
            <a:pathLst>
              <a:path w="7761924" h="5343065">
                <a:moveTo>
                  <a:pt x="3025687" y="76"/>
                </a:moveTo>
                <a:cubicBezTo>
                  <a:pt x="3140786" y="756"/>
                  <a:pt x="3256631" y="6055"/>
                  <a:pt x="3372722" y="16088"/>
                </a:cubicBezTo>
                <a:cubicBezTo>
                  <a:pt x="5230178" y="176616"/>
                  <a:pt x="7761924" y="1424594"/>
                  <a:pt x="7761924" y="3316816"/>
                </a:cubicBezTo>
                <a:cubicBezTo>
                  <a:pt x="7646022" y="5237647"/>
                  <a:pt x="4988715" y="5423921"/>
                  <a:pt x="3701109" y="5320611"/>
                </a:cubicBezTo>
                <a:cubicBezTo>
                  <a:pt x="2413504" y="5217301"/>
                  <a:pt x="351800" y="4486992"/>
                  <a:pt x="36290" y="2696959"/>
                </a:cubicBezTo>
                <a:cubicBezTo>
                  <a:pt x="-259500" y="1018804"/>
                  <a:pt x="1299198" y="-10133"/>
                  <a:pt x="3025687" y="76"/>
                </a:cubicBez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675998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oogle Shape;92;p17" descr="Изображение выглядит как внутренний, стол, рабочий стол, сидит&#10;&#10;Автоматически созданное описание">
            <a:extLst>
              <a:ext uri="{FF2B5EF4-FFF2-40B4-BE49-F238E27FC236}">
                <a16:creationId xmlns:a16="http://schemas.microsoft.com/office/drawing/2014/main" id="{CF45F195-C362-4548-AACA-AE5897225C19}"/>
              </a:ext>
            </a:extLst>
          </p:cNvPr>
          <p:cNvPicPr preferRelativeResize="0"/>
          <p:nvPr/>
        </p:nvPicPr>
        <p:blipFill rotWithShape="1">
          <a:blip r:embed="rId2">
            <a:alphaModFix/>
          </a:blip>
          <a:srcRect r="7363" b="2"/>
          <a:stretch/>
        </p:blipFill>
        <p:spPr>
          <a:xfrm>
            <a:off x="4413894" y="170731"/>
            <a:ext cx="7534660" cy="4575047"/>
          </a:xfrm>
          <a:prstGeom prst="rect">
            <a:avLst/>
          </a:prstGeom>
          <a:noFill/>
          <a:ln>
            <a:noFill/>
          </a:ln>
        </p:spPr>
      </p:pic>
      <p:pic>
        <p:nvPicPr>
          <p:cNvPr id="8" name="Google Shape;93;p17" descr="Изображение выглядит как внешний, вода, здание, лодка&#10;&#10;Автоматически созданное описание">
            <a:extLst>
              <a:ext uri="{FF2B5EF4-FFF2-40B4-BE49-F238E27FC236}">
                <a16:creationId xmlns:a16="http://schemas.microsoft.com/office/drawing/2014/main" id="{95ACF706-D28F-434B-9C3B-A8AD48B4E9D0}"/>
              </a:ext>
            </a:extLst>
          </p:cNvPr>
          <p:cNvPicPr preferRelativeResize="0"/>
          <p:nvPr/>
        </p:nvPicPr>
        <p:blipFill rotWithShape="1">
          <a:blip r:embed="rId3">
            <a:alphaModFix/>
          </a:blip>
          <a:srcRect t="1454"/>
          <a:stretch/>
        </p:blipFill>
        <p:spPr>
          <a:xfrm>
            <a:off x="20" y="2319867"/>
            <a:ext cx="8181204" cy="4535019"/>
          </a:xfrm>
          <a:custGeom>
            <a:avLst/>
            <a:gdLst/>
            <a:ahLst/>
            <a:cxnLst/>
            <a:rect l="l" t="t" r="r" b="b"/>
            <a:pathLst>
              <a:path w="8181224" h="4535019" extrusionOk="0">
                <a:moveTo>
                  <a:pt x="0" y="0"/>
                </a:moveTo>
                <a:lnTo>
                  <a:pt x="4483100" y="0"/>
                </a:lnTo>
                <a:lnTo>
                  <a:pt x="4483100" y="2404532"/>
                </a:lnTo>
                <a:lnTo>
                  <a:pt x="8181224" y="2404532"/>
                </a:lnTo>
                <a:lnTo>
                  <a:pt x="8181224" y="4535019"/>
                </a:lnTo>
                <a:lnTo>
                  <a:pt x="0" y="4535019"/>
                </a:lnTo>
                <a:close/>
              </a:path>
            </a:pathLst>
          </a:cu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722496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3">
            <a:extLst>
              <a:ext uri="{FF2B5EF4-FFF2-40B4-BE49-F238E27FC236}">
                <a16:creationId xmlns:a16="http://schemas.microsoft.com/office/drawing/2014/main" id="{3C503A23-1DE1-514C-BB7E-DCBCF037C1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620713"/>
            <a:ext cx="10933350" cy="1004887"/>
          </a:xfrm>
        </p:spPr>
        <p:txBody>
          <a:bodyPr/>
          <a:lstStyle/>
          <a:p>
            <a:r>
              <a:rPr lang="ru-RU" dirty="0"/>
              <a:t>Программа «Содействие занятости» в рамках национального проекта «Демография»</a:t>
            </a:r>
          </a:p>
        </p:txBody>
      </p:sp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AF3DD60C-DF4B-451C-A209-FCB24A173B2D}"/>
              </a:ext>
            </a:extLst>
          </p:cNvPr>
          <p:cNvSpPr/>
          <p:nvPr/>
        </p:nvSpPr>
        <p:spPr>
          <a:xfrm>
            <a:off x="630000" y="2442532"/>
            <a:ext cx="4927520" cy="3948108"/>
          </a:xfrm>
          <a:prstGeom prst="rect">
            <a:avLst/>
          </a:prstGeom>
          <a:solidFill>
            <a:srgbClr val="F0F4F6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ru-RU" dirty="0">
                <a:solidFill>
                  <a:schemeClr val="tx2"/>
                </a:solidFill>
              </a:rPr>
              <a:t>Кто может обучаться?</a:t>
            </a:r>
          </a:p>
          <a:p>
            <a:endParaRPr lang="ru-RU" dirty="0">
              <a:solidFill>
                <a:schemeClr val="tx2"/>
              </a:solidFill>
            </a:endParaRPr>
          </a:p>
          <a:p>
            <a:r>
              <a:rPr lang="ru-RU" dirty="0">
                <a:solidFill>
                  <a:schemeClr val="tx2"/>
                </a:solidFill>
              </a:rPr>
              <a:t>- граждане, ищущие работу и обратившиеся в органы службы занятости, включая безработных;</a:t>
            </a:r>
          </a:p>
          <a:p>
            <a:r>
              <a:rPr lang="ru-RU" dirty="0">
                <a:solidFill>
                  <a:schemeClr val="tx2"/>
                </a:solidFill>
              </a:rPr>
              <a:t>- лица в возрасте 50-ти лет и старше,</a:t>
            </a:r>
          </a:p>
          <a:p>
            <a:r>
              <a:rPr lang="ru-RU" dirty="0">
                <a:solidFill>
                  <a:schemeClr val="tx2"/>
                </a:solidFill>
              </a:rPr>
              <a:t>- лица предпенсионного возраста,</a:t>
            </a:r>
          </a:p>
          <a:p>
            <a:r>
              <a:rPr lang="ru-RU" dirty="0">
                <a:solidFill>
                  <a:schemeClr val="tx2"/>
                </a:solidFill>
              </a:rPr>
              <a:t>- женщины, находящиеся в отпуске по уходу за ребенком в возрасте до трех лет,</a:t>
            </a:r>
          </a:p>
          <a:p>
            <a:r>
              <a:rPr lang="ru-RU" dirty="0">
                <a:solidFill>
                  <a:schemeClr val="tx2"/>
                </a:solidFill>
              </a:rPr>
              <a:t>- женщины, не состоящие в трудовых отношениях и имеющие детей дошкольного возраста.</a:t>
            </a:r>
          </a:p>
        </p:txBody>
      </p:sp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BF368797-D319-49FD-9AF6-1E9381B3F9C1}"/>
              </a:ext>
            </a:extLst>
          </p:cNvPr>
          <p:cNvSpPr/>
          <p:nvPr/>
        </p:nvSpPr>
        <p:spPr>
          <a:xfrm>
            <a:off x="5933520" y="2412052"/>
            <a:ext cx="5699680" cy="3948108"/>
          </a:xfrm>
          <a:prstGeom prst="rect">
            <a:avLst/>
          </a:prstGeom>
          <a:solidFill>
            <a:srgbClr val="F0F4F6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ru-RU" dirty="0">
                <a:solidFill>
                  <a:schemeClr val="tx2"/>
                </a:solidFill>
              </a:rPr>
              <a:t>По каким программам проходит обучение?</a:t>
            </a:r>
          </a:p>
          <a:p>
            <a:endParaRPr lang="ru-RU" dirty="0">
              <a:solidFill>
                <a:schemeClr val="tx2"/>
              </a:solidFill>
            </a:endParaRPr>
          </a:p>
          <a:p>
            <a:endParaRPr lang="ru-RU" dirty="0">
              <a:solidFill>
                <a:schemeClr val="tx2"/>
              </a:solidFill>
            </a:endParaRPr>
          </a:p>
          <a:p>
            <a:r>
              <a:rPr lang="ru-RU" dirty="0">
                <a:solidFill>
                  <a:schemeClr val="tx2"/>
                </a:solidFill>
              </a:rPr>
              <a:t>Профессиональное обучение — программы профессиональной подготовки и переподготовки, повышения квалификации по профессиям рабочих, должностям служащих;</a:t>
            </a:r>
          </a:p>
          <a:p>
            <a:endParaRPr lang="ru-RU" dirty="0">
              <a:solidFill>
                <a:schemeClr val="tx2"/>
              </a:solidFill>
            </a:endParaRPr>
          </a:p>
          <a:p>
            <a:r>
              <a:rPr lang="ru-RU" dirty="0">
                <a:solidFill>
                  <a:schemeClr val="tx2"/>
                </a:solidFill>
              </a:rPr>
              <a:t>Дополнительное профессиональное образование — для лиц, имеющих среднее профессиональное или высшее образование.</a:t>
            </a:r>
          </a:p>
        </p:txBody>
      </p:sp>
    </p:spTree>
    <p:extLst>
      <p:ext uri="{BB962C8B-B14F-4D97-AF65-F5344CB8AC3E}">
        <p14:creationId xmlns:p14="http://schemas.microsoft.com/office/powerpoint/2010/main" val="39441025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4">
            <a:extLst>
              <a:ext uri="{FF2B5EF4-FFF2-40B4-BE49-F238E27FC236}">
                <a16:creationId xmlns:a16="http://schemas.microsoft.com/office/drawing/2014/main" id="{33596225-F597-8C41-B678-DD14EA7AC05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b="1" dirty="0">
                <a:solidFill>
                  <a:schemeClr val="tx2"/>
                </a:solidFill>
              </a:rPr>
              <a:t>Миф 5. Нужно быть коммуникабельным, креативным и позитивным</a:t>
            </a:r>
          </a:p>
        </p:txBody>
      </p:sp>
      <p:pic>
        <p:nvPicPr>
          <p:cNvPr id="7" name="Picture 4" descr="Великая Кавказская Стена - Дамба Гога и Магога, часть 1">
            <a:extLst>
              <a:ext uri="{FF2B5EF4-FFF2-40B4-BE49-F238E27FC236}">
                <a16:creationId xmlns:a16="http://schemas.microsoft.com/office/drawing/2014/main" id="{0062E36F-8145-46D0-8DA3-4D7DA571125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8650" y="1321151"/>
            <a:ext cx="10394950" cy="49423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8790804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Заголовок 14">
            <a:extLst>
              <a:ext uri="{FF2B5EF4-FFF2-40B4-BE49-F238E27FC236}">
                <a16:creationId xmlns:a16="http://schemas.microsoft.com/office/drawing/2014/main" id="{CB96B4B9-8D3E-424B-A349-DA839235687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>
                <a:solidFill>
                  <a:schemeClr val="tx2"/>
                </a:solidFill>
              </a:rPr>
              <a:t>Бета-лидеры</a:t>
            </a:r>
          </a:p>
        </p:txBody>
      </p:sp>
      <p:sp>
        <p:nvSpPr>
          <p:cNvPr id="24" name="Rectangle: Rounded Corners 76">
            <a:extLst>
              <a:ext uri="{FF2B5EF4-FFF2-40B4-BE49-F238E27FC236}">
                <a16:creationId xmlns:a16="http://schemas.microsoft.com/office/drawing/2014/main" id="{FACAE5BF-10C5-E147-9B34-198E67070964}"/>
              </a:ext>
            </a:extLst>
          </p:cNvPr>
          <p:cNvSpPr/>
          <p:nvPr/>
        </p:nvSpPr>
        <p:spPr>
          <a:xfrm>
            <a:off x="628650" y="2668087"/>
            <a:ext cx="3449875" cy="2903332"/>
          </a:xfrm>
          <a:prstGeom prst="roundRect">
            <a:avLst>
              <a:gd name="adj" fmla="val 0"/>
            </a:avLst>
          </a:prstGeom>
          <a:solidFill>
            <a:srgbClr val="F0F4F6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39" name="Rectangle: Rounded Corners 76">
            <a:extLst>
              <a:ext uri="{FF2B5EF4-FFF2-40B4-BE49-F238E27FC236}">
                <a16:creationId xmlns:a16="http://schemas.microsoft.com/office/drawing/2014/main" id="{461B4076-E111-FD4B-A006-963D9153E1A4}"/>
              </a:ext>
            </a:extLst>
          </p:cNvPr>
          <p:cNvSpPr/>
          <p:nvPr/>
        </p:nvSpPr>
        <p:spPr>
          <a:xfrm>
            <a:off x="4374804" y="2668087"/>
            <a:ext cx="3449984" cy="2903332"/>
          </a:xfrm>
          <a:prstGeom prst="roundRect">
            <a:avLst>
              <a:gd name="adj" fmla="val 0"/>
            </a:avLst>
          </a:prstGeom>
          <a:solidFill>
            <a:srgbClr val="F0F4F6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42" name="Rectangle: Rounded Corners 76">
            <a:extLst>
              <a:ext uri="{FF2B5EF4-FFF2-40B4-BE49-F238E27FC236}">
                <a16:creationId xmlns:a16="http://schemas.microsoft.com/office/drawing/2014/main" id="{82B18BD4-74E1-0144-9CC1-F6B33BD77D76}"/>
              </a:ext>
            </a:extLst>
          </p:cNvPr>
          <p:cNvSpPr/>
          <p:nvPr/>
        </p:nvSpPr>
        <p:spPr>
          <a:xfrm>
            <a:off x="8113475" y="2668087"/>
            <a:ext cx="3449875" cy="2903332"/>
          </a:xfrm>
          <a:prstGeom prst="roundRect">
            <a:avLst>
              <a:gd name="adj" fmla="val 0"/>
            </a:avLst>
          </a:prstGeom>
          <a:solidFill>
            <a:srgbClr val="F0F4F6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pic>
        <p:nvPicPr>
          <p:cNvPr id="14" name="Picture 4" descr="Правила жизни успешных людей: Марк Цукерберг - Лайфхакер">
            <a:extLst>
              <a:ext uri="{FF2B5EF4-FFF2-40B4-BE49-F238E27FC236}">
                <a16:creationId xmlns:a16="http://schemas.microsoft.com/office/drawing/2014/main" id="{645EB10C-B16E-4726-BBC7-ED999A9CAB0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617" r="37683" b="-1"/>
          <a:stretch/>
        </p:blipFill>
        <p:spPr bwMode="auto">
          <a:xfrm>
            <a:off x="1239161" y="2718940"/>
            <a:ext cx="2228851" cy="2801626"/>
          </a:xfrm>
          <a:custGeom>
            <a:avLst/>
            <a:gdLst/>
            <a:ahLst/>
            <a:cxnLst/>
            <a:rect l="l" t="t" r="r" b="b"/>
            <a:pathLst>
              <a:path w="2971800" h="2971800">
                <a:moveTo>
                  <a:pt x="1485900" y="0"/>
                </a:moveTo>
                <a:cubicBezTo>
                  <a:pt x="2306540" y="0"/>
                  <a:pt x="2971800" y="665260"/>
                  <a:pt x="2971800" y="1485900"/>
                </a:cubicBezTo>
                <a:cubicBezTo>
                  <a:pt x="2971800" y="2306540"/>
                  <a:pt x="2306540" y="2971800"/>
                  <a:pt x="1485900" y="2971800"/>
                </a:cubicBezTo>
                <a:cubicBezTo>
                  <a:pt x="665260" y="2971800"/>
                  <a:pt x="0" y="2306540"/>
                  <a:pt x="0" y="1485900"/>
                </a:cubicBezTo>
                <a:cubicBezTo>
                  <a:pt x="0" y="665260"/>
                  <a:pt x="665260" y="0"/>
                  <a:pt x="1485900" y="0"/>
                </a:cubicBez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" name="Picture 2" descr="Гейтс, Билл — Википедия">
            <a:extLst>
              <a:ext uri="{FF2B5EF4-FFF2-40B4-BE49-F238E27FC236}">
                <a16:creationId xmlns:a16="http://schemas.microsoft.com/office/drawing/2014/main" id="{424B1267-ED8B-427E-9774-833CC57E0E1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" b="369"/>
          <a:stretch/>
        </p:blipFill>
        <p:spPr bwMode="auto">
          <a:xfrm>
            <a:off x="4981575" y="2668087"/>
            <a:ext cx="2228850" cy="2801626"/>
          </a:xfrm>
          <a:custGeom>
            <a:avLst/>
            <a:gdLst/>
            <a:ahLst/>
            <a:cxnLst/>
            <a:rect l="l" t="t" r="r" b="b"/>
            <a:pathLst>
              <a:path w="2971800" h="2971800">
                <a:moveTo>
                  <a:pt x="1485900" y="0"/>
                </a:moveTo>
                <a:cubicBezTo>
                  <a:pt x="2306540" y="0"/>
                  <a:pt x="2971800" y="665260"/>
                  <a:pt x="2971800" y="1485900"/>
                </a:cubicBezTo>
                <a:cubicBezTo>
                  <a:pt x="2971800" y="2306540"/>
                  <a:pt x="2306540" y="2971800"/>
                  <a:pt x="1485900" y="2971800"/>
                </a:cubicBezTo>
                <a:cubicBezTo>
                  <a:pt x="665260" y="2971800"/>
                  <a:pt x="0" y="2306540"/>
                  <a:pt x="0" y="1485900"/>
                </a:cubicBezTo>
                <a:cubicBezTo>
                  <a:pt x="0" y="665260"/>
                  <a:pt x="665260" y="0"/>
                  <a:pt x="1485900" y="0"/>
                </a:cubicBez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6" descr="Пять прорывных проектов Илона Маска / +1">
            <a:extLst>
              <a:ext uri="{FF2B5EF4-FFF2-40B4-BE49-F238E27FC236}">
                <a16:creationId xmlns:a16="http://schemas.microsoft.com/office/drawing/2014/main" id="{DEB21DF4-B9F9-4E23-93F7-7C6BA81290FB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893" r="29167" b="1"/>
          <a:stretch/>
        </p:blipFill>
        <p:spPr bwMode="auto">
          <a:xfrm>
            <a:off x="8651569" y="2668087"/>
            <a:ext cx="2228850" cy="2801626"/>
          </a:xfrm>
          <a:custGeom>
            <a:avLst/>
            <a:gdLst/>
            <a:ahLst/>
            <a:cxnLst/>
            <a:rect l="l" t="t" r="r" b="b"/>
            <a:pathLst>
              <a:path w="2971800" h="2971800">
                <a:moveTo>
                  <a:pt x="1485900" y="0"/>
                </a:moveTo>
                <a:cubicBezTo>
                  <a:pt x="2306540" y="0"/>
                  <a:pt x="2971800" y="665260"/>
                  <a:pt x="2971800" y="1485900"/>
                </a:cubicBezTo>
                <a:cubicBezTo>
                  <a:pt x="2971800" y="2306540"/>
                  <a:pt x="2306540" y="2971800"/>
                  <a:pt x="1485900" y="2971800"/>
                </a:cubicBezTo>
                <a:cubicBezTo>
                  <a:pt x="665260" y="2971800"/>
                  <a:pt x="0" y="2306540"/>
                  <a:pt x="0" y="1485900"/>
                </a:cubicBezTo>
                <a:cubicBezTo>
                  <a:pt x="0" y="665260"/>
                  <a:pt x="665260" y="0"/>
                  <a:pt x="1485900" y="0"/>
                </a:cubicBez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9232663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5">
            <a:extLst>
              <a:ext uri="{FF2B5EF4-FFF2-40B4-BE49-F238E27FC236}">
                <a16:creationId xmlns:a16="http://schemas.microsoft.com/office/drawing/2014/main" id="{463DDA8A-CEF4-3B48-8543-8956C9B0B3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b="1" dirty="0">
                <a:solidFill>
                  <a:schemeClr val="tx2"/>
                </a:solidFill>
              </a:rPr>
              <a:t>МИФ 6</a:t>
            </a:r>
            <a:br>
              <a:rPr lang="ru-RU" b="1" dirty="0">
                <a:solidFill>
                  <a:schemeClr val="tx2"/>
                </a:solidFill>
              </a:rPr>
            </a:br>
            <a:br>
              <a:rPr lang="ru-RU" b="1" dirty="0">
                <a:solidFill>
                  <a:schemeClr val="tx2"/>
                </a:solidFill>
              </a:rPr>
            </a:br>
            <a:r>
              <a:rPr lang="ru-RU" b="1" dirty="0">
                <a:solidFill>
                  <a:schemeClr val="tx2"/>
                </a:solidFill>
              </a:rPr>
              <a:t>Надо хорошо учиться, и этого достаточно</a:t>
            </a:r>
          </a:p>
        </p:txBody>
      </p:sp>
      <p:pic>
        <p:nvPicPr>
          <p:cNvPr id="5" name="Picture 2" descr="Египетские трафареты | БАТИК и Я | Древнеегипетское искусство, Египетская  татуировка, Древний египет">
            <a:extLst>
              <a:ext uri="{FF2B5EF4-FFF2-40B4-BE49-F238E27FC236}">
                <a16:creationId xmlns:a16="http://schemas.microsoft.com/office/drawing/2014/main" id="{8C6FA4FD-8945-45B1-A64F-BDDF6EA0C84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13142" y="620713"/>
            <a:ext cx="4508123" cy="54097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2890918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oogle Shape;124;p22">
            <a:extLst>
              <a:ext uri="{FF2B5EF4-FFF2-40B4-BE49-F238E27FC236}">
                <a16:creationId xmlns:a16="http://schemas.microsoft.com/office/drawing/2014/main" id="{5A008E6E-AA8F-4E1B-96E6-523AB1BD6F3E}"/>
              </a:ext>
            </a:extLst>
          </p:cNvPr>
          <p:cNvGrpSpPr/>
          <p:nvPr/>
        </p:nvGrpSpPr>
        <p:grpSpPr>
          <a:xfrm>
            <a:off x="4712960" y="653969"/>
            <a:ext cx="6645920" cy="5411551"/>
            <a:chOff x="0" y="156861"/>
            <a:chExt cx="5785301" cy="4430341"/>
          </a:xfrm>
        </p:grpSpPr>
        <p:sp>
          <p:nvSpPr>
            <p:cNvPr id="8" name="Google Shape;125;p22">
              <a:extLst>
                <a:ext uri="{FF2B5EF4-FFF2-40B4-BE49-F238E27FC236}">
                  <a16:creationId xmlns:a16="http://schemas.microsoft.com/office/drawing/2014/main" id="{4079388B-F6A5-4BFA-ACBD-C29A1243DB0B}"/>
                </a:ext>
              </a:extLst>
            </p:cNvPr>
            <p:cNvSpPr/>
            <p:nvPr/>
          </p:nvSpPr>
          <p:spPr>
            <a:xfrm>
              <a:off x="0" y="156861"/>
              <a:ext cx="5785301" cy="595877"/>
            </a:xfrm>
            <a:prstGeom prst="roundRect">
              <a:avLst>
                <a:gd name="adj" fmla="val 16667"/>
              </a:avLst>
            </a:prstGeom>
            <a:solidFill>
              <a:srgbClr val="4372C3"/>
            </a:solidFill>
            <a:ln w="12700" cap="flat" cmpd="sng">
              <a:solidFill>
                <a:schemeClr val="lt1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" name="Google Shape;126;p22">
              <a:extLst>
                <a:ext uri="{FF2B5EF4-FFF2-40B4-BE49-F238E27FC236}">
                  <a16:creationId xmlns:a16="http://schemas.microsoft.com/office/drawing/2014/main" id="{5BF33CD0-9E6A-41A8-9008-CB830DC14A36}"/>
                </a:ext>
              </a:extLst>
            </p:cNvPr>
            <p:cNvSpPr txBox="1"/>
            <p:nvPr/>
          </p:nvSpPr>
          <p:spPr>
            <a:xfrm>
              <a:off x="29088" y="185949"/>
              <a:ext cx="5727125" cy="537701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57150" tIns="57150" rIns="57150" bIns="57150" anchor="ctr" anchorCtr="0">
              <a:noAutofit/>
            </a:bodyPr>
            <a:lstStyle/>
            <a:p>
              <a:pPr marL="0" marR="0" lvl="0" indent="0" algn="l" rtl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500"/>
                <a:buFont typeface="Calibri"/>
                <a:buNone/>
              </a:pPr>
              <a:r>
                <a:rPr lang="ru-RU" sz="1500">
                  <a:solidFill>
                    <a:schemeClr val="lt1"/>
                  </a:solidFill>
                  <a:latin typeface="Calibri"/>
                  <a:ea typeface="Calibri"/>
                  <a:cs typeface="Calibri"/>
                  <a:sym typeface="Calibri"/>
                </a:rPr>
                <a:t>1. Междисциплинарность в противовес узкой специализации ранее.</a:t>
              </a:r>
              <a:endParaRPr sz="15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0" name="Google Shape;127;p22">
              <a:extLst>
                <a:ext uri="{FF2B5EF4-FFF2-40B4-BE49-F238E27FC236}">
                  <a16:creationId xmlns:a16="http://schemas.microsoft.com/office/drawing/2014/main" id="{246D2EBF-03C8-4FDB-85FA-C401ED20C5A0}"/>
                </a:ext>
              </a:extLst>
            </p:cNvPr>
            <p:cNvSpPr/>
            <p:nvPr/>
          </p:nvSpPr>
          <p:spPr>
            <a:xfrm>
              <a:off x="0" y="795939"/>
              <a:ext cx="5785301" cy="595877"/>
            </a:xfrm>
            <a:prstGeom prst="roundRect">
              <a:avLst>
                <a:gd name="adj" fmla="val 16667"/>
              </a:avLst>
            </a:prstGeom>
            <a:solidFill>
              <a:srgbClr val="4372C3"/>
            </a:solidFill>
            <a:ln w="12700" cap="flat" cmpd="sng">
              <a:solidFill>
                <a:schemeClr val="lt1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" name="Google Shape;128;p22">
              <a:extLst>
                <a:ext uri="{FF2B5EF4-FFF2-40B4-BE49-F238E27FC236}">
                  <a16:creationId xmlns:a16="http://schemas.microsoft.com/office/drawing/2014/main" id="{F111B4FD-21A8-4E1B-805E-0D846B908277}"/>
                </a:ext>
              </a:extLst>
            </p:cNvPr>
            <p:cNvSpPr txBox="1"/>
            <p:nvPr/>
          </p:nvSpPr>
          <p:spPr>
            <a:xfrm>
              <a:off x="29088" y="825027"/>
              <a:ext cx="5727125" cy="537701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57150" tIns="57150" rIns="57150" bIns="57150" anchor="ctr" anchorCtr="0">
              <a:noAutofit/>
            </a:bodyPr>
            <a:lstStyle/>
            <a:p>
              <a:pPr marL="0" marR="0" lvl="0" indent="0" algn="l" rtl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500"/>
                <a:buFont typeface="Calibri"/>
                <a:buNone/>
              </a:pPr>
              <a:r>
                <a:rPr lang="ru-RU" sz="1500">
                  <a:solidFill>
                    <a:schemeClr val="lt1"/>
                  </a:solidFill>
                  <a:latin typeface="Calibri"/>
                  <a:ea typeface="Calibri"/>
                  <a:cs typeface="Calibri"/>
                  <a:sym typeface="Calibri"/>
                </a:rPr>
                <a:t>2. Мультикультурность (знание английского как минимум на уровне свободного общения и чтения специализированной литературы)</a:t>
              </a:r>
              <a:endParaRPr sz="15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" name="Google Shape;129;p22">
              <a:extLst>
                <a:ext uri="{FF2B5EF4-FFF2-40B4-BE49-F238E27FC236}">
                  <a16:creationId xmlns:a16="http://schemas.microsoft.com/office/drawing/2014/main" id="{80D58C7A-F835-49A4-8D85-16F929EAC084}"/>
                </a:ext>
              </a:extLst>
            </p:cNvPr>
            <p:cNvSpPr/>
            <p:nvPr/>
          </p:nvSpPr>
          <p:spPr>
            <a:xfrm>
              <a:off x="0" y="1435016"/>
              <a:ext cx="5785301" cy="595877"/>
            </a:xfrm>
            <a:prstGeom prst="roundRect">
              <a:avLst>
                <a:gd name="adj" fmla="val 16667"/>
              </a:avLst>
            </a:prstGeom>
            <a:solidFill>
              <a:srgbClr val="4372C3"/>
            </a:solidFill>
            <a:ln w="12700" cap="flat" cmpd="sng">
              <a:solidFill>
                <a:schemeClr val="lt1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" name="Google Shape;130;p22">
              <a:extLst>
                <a:ext uri="{FF2B5EF4-FFF2-40B4-BE49-F238E27FC236}">
                  <a16:creationId xmlns:a16="http://schemas.microsoft.com/office/drawing/2014/main" id="{06C6723C-568B-42C2-AE0F-4605CB7B7BE3}"/>
                </a:ext>
              </a:extLst>
            </p:cNvPr>
            <p:cNvSpPr txBox="1"/>
            <p:nvPr/>
          </p:nvSpPr>
          <p:spPr>
            <a:xfrm>
              <a:off x="29088" y="1464104"/>
              <a:ext cx="5727125" cy="537701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57150" tIns="57150" rIns="57150" bIns="57150" anchor="ctr" anchorCtr="0">
              <a:noAutofit/>
            </a:bodyPr>
            <a:lstStyle/>
            <a:p>
              <a:pPr marL="0" marR="0" lvl="0" indent="0" algn="l" rtl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500"/>
                <a:buFont typeface="Calibri"/>
                <a:buNone/>
              </a:pPr>
              <a:r>
                <a:rPr lang="ru-RU" sz="1500" dirty="0">
                  <a:solidFill>
                    <a:schemeClr val="lt1"/>
                  </a:solidFill>
                  <a:latin typeface="Calibri"/>
                  <a:ea typeface="Calibri"/>
                  <a:cs typeface="Calibri"/>
                  <a:sym typeface="Calibri"/>
                </a:rPr>
                <a:t>3. Программирование как базовый навык, умение работать в IT – насыщенных средах.</a:t>
              </a:r>
              <a:endParaRPr sz="1500" dirty="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" name="Google Shape;131;p22">
              <a:extLst>
                <a:ext uri="{FF2B5EF4-FFF2-40B4-BE49-F238E27FC236}">
                  <a16:creationId xmlns:a16="http://schemas.microsoft.com/office/drawing/2014/main" id="{3ED75C02-09DA-44BD-95BD-58E4C07D3DB6}"/>
                </a:ext>
              </a:extLst>
            </p:cNvPr>
            <p:cNvSpPr/>
            <p:nvPr/>
          </p:nvSpPr>
          <p:spPr>
            <a:xfrm>
              <a:off x="0" y="2074093"/>
              <a:ext cx="5785301" cy="595877"/>
            </a:xfrm>
            <a:prstGeom prst="roundRect">
              <a:avLst>
                <a:gd name="adj" fmla="val 16667"/>
              </a:avLst>
            </a:prstGeom>
            <a:solidFill>
              <a:srgbClr val="4372C3"/>
            </a:solidFill>
            <a:ln w="12700" cap="flat" cmpd="sng">
              <a:solidFill>
                <a:schemeClr val="lt1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" name="Google Shape;132;p22">
              <a:extLst>
                <a:ext uri="{FF2B5EF4-FFF2-40B4-BE49-F238E27FC236}">
                  <a16:creationId xmlns:a16="http://schemas.microsoft.com/office/drawing/2014/main" id="{5D059CB2-BFA9-4053-A903-34833800FCA4}"/>
                </a:ext>
              </a:extLst>
            </p:cNvPr>
            <p:cNvSpPr txBox="1"/>
            <p:nvPr/>
          </p:nvSpPr>
          <p:spPr>
            <a:xfrm>
              <a:off x="29088" y="2103181"/>
              <a:ext cx="5727125" cy="537701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57150" tIns="57150" rIns="57150" bIns="57150" anchor="ctr" anchorCtr="0">
              <a:noAutofit/>
            </a:bodyPr>
            <a:lstStyle/>
            <a:p>
              <a:pPr marL="0" marR="0" lvl="0" indent="0" algn="l" rtl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500"/>
                <a:buFont typeface="Calibri"/>
                <a:buNone/>
              </a:pPr>
              <a:r>
                <a:rPr lang="ru-RU" sz="1500">
                  <a:solidFill>
                    <a:schemeClr val="lt1"/>
                  </a:solidFill>
                  <a:latin typeface="Calibri"/>
                  <a:ea typeface="Calibri"/>
                  <a:cs typeface="Calibri"/>
                  <a:sym typeface="Calibri"/>
                </a:rPr>
                <a:t>4. Способность к рефлексии</a:t>
              </a:r>
              <a:endParaRPr sz="15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" name="Google Shape;133;p22">
              <a:extLst>
                <a:ext uri="{FF2B5EF4-FFF2-40B4-BE49-F238E27FC236}">
                  <a16:creationId xmlns:a16="http://schemas.microsoft.com/office/drawing/2014/main" id="{FCE34D32-9329-44FE-8E25-3495094B62F4}"/>
                </a:ext>
              </a:extLst>
            </p:cNvPr>
            <p:cNvSpPr/>
            <p:nvPr/>
          </p:nvSpPr>
          <p:spPr>
            <a:xfrm>
              <a:off x="0" y="2713171"/>
              <a:ext cx="5785301" cy="595877"/>
            </a:xfrm>
            <a:prstGeom prst="roundRect">
              <a:avLst>
                <a:gd name="adj" fmla="val 16667"/>
              </a:avLst>
            </a:prstGeom>
            <a:solidFill>
              <a:srgbClr val="4372C3"/>
            </a:solidFill>
            <a:ln w="12700" cap="flat" cmpd="sng">
              <a:solidFill>
                <a:schemeClr val="lt1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" name="Google Shape;134;p22">
              <a:extLst>
                <a:ext uri="{FF2B5EF4-FFF2-40B4-BE49-F238E27FC236}">
                  <a16:creationId xmlns:a16="http://schemas.microsoft.com/office/drawing/2014/main" id="{8E9370F7-DCA4-4A53-8DA0-1A25CDE887B9}"/>
                </a:ext>
              </a:extLst>
            </p:cNvPr>
            <p:cNvSpPr txBox="1"/>
            <p:nvPr/>
          </p:nvSpPr>
          <p:spPr>
            <a:xfrm>
              <a:off x="29088" y="2742259"/>
              <a:ext cx="5727125" cy="537701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57150" tIns="57150" rIns="57150" bIns="57150" anchor="ctr" anchorCtr="0">
              <a:noAutofit/>
            </a:bodyPr>
            <a:lstStyle/>
            <a:p>
              <a:pPr marL="0" marR="0" lvl="0" indent="0" algn="l" rtl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500"/>
                <a:buFont typeface="Calibri"/>
                <a:buNone/>
              </a:pPr>
              <a:r>
                <a:rPr lang="ru-RU" sz="1500">
                  <a:solidFill>
                    <a:schemeClr val="lt1"/>
                  </a:solidFill>
                  <a:latin typeface="Calibri"/>
                  <a:ea typeface="Calibri"/>
                  <a:cs typeface="Calibri"/>
                  <a:sym typeface="Calibri"/>
                </a:rPr>
                <a:t>5. Способность решать проблемы любой сложности, независимо от того, на каком уровне управленческой пирамиды они находятся</a:t>
              </a:r>
              <a:endParaRPr sz="15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" name="Google Shape;135;p22">
              <a:extLst>
                <a:ext uri="{FF2B5EF4-FFF2-40B4-BE49-F238E27FC236}">
                  <a16:creationId xmlns:a16="http://schemas.microsoft.com/office/drawing/2014/main" id="{73347FCE-3BE7-43A1-B6B0-25476C586409}"/>
                </a:ext>
              </a:extLst>
            </p:cNvPr>
            <p:cNvSpPr/>
            <p:nvPr/>
          </p:nvSpPr>
          <p:spPr>
            <a:xfrm>
              <a:off x="0" y="3352248"/>
              <a:ext cx="5785301" cy="595877"/>
            </a:xfrm>
            <a:prstGeom prst="roundRect">
              <a:avLst>
                <a:gd name="adj" fmla="val 16667"/>
              </a:avLst>
            </a:prstGeom>
            <a:solidFill>
              <a:srgbClr val="4372C3"/>
            </a:solidFill>
            <a:ln w="12700" cap="flat" cmpd="sng">
              <a:solidFill>
                <a:schemeClr val="lt1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" name="Google Shape;136;p22">
              <a:extLst>
                <a:ext uri="{FF2B5EF4-FFF2-40B4-BE49-F238E27FC236}">
                  <a16:creationId xmlns:a16="http://schemas.microsoft.com/office/drawing/2014/main" id="{D2FA4697-40E7-46C6-BB1A-153A29A0D268}"/>
                </a:ext>
              </a:extLst>
            </p:cNvPr>
            <p:cNvSpPr txBox="1"/>
            <p:nvPr/>
          </p:nvSpPr>
          <p:spPr>
            <a:xfrm>
              <a:off x="29088" y="3381336"/>
              <a:ext cx="5727125" cy="537701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57150" tIns="57150" rIns="57150" bIns="57150" anchor="ctr" anchorCtr="0">
              <a:noAutofit/>
            </a:bodyPr>
            <a:lstStyle/>
            <a:p>
              <a:pPr marL="0" marR="0" lvl="0" indent="0" algn="l" rtl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500"/>
                <a:buFont typeface="Calibri"/>
                <a:buNone/>
              </a:pPr>
              <a:r>
                <a:rPr lang="ru-RU" sz="1500">
                  <a:solidFill>
                    <a:schemeClr val="lt1"/>
                  </a:solidFill>
                  <a:latin typeface="Calibri"/>
                  <a:ea typeface="Calibri"/>
                  <a:cs typeface="Calibri"/>
                  <a:sym typeface="Calibri"/>
                </a:rPr>
                <a:t>6. Способность организовать работу команды из представителей различных профессиональных и социальных сфер</a:t>
              </a:r>
              <a:endParaRPr sz="15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" name="Google Shape;137;p22">
              <a:extLst>
                <a:ext uri="{FF2B5EF4-FFF2-40B4-BE49-F238E27FC236}">
                  <a16:creationId xmlns:a16="http://schemas.microsoft.com/office/drawing/2014/main" id="{6DADEFB5-82F6-444C-95DC-1C9581A9C5D8}"/>
                </a:ext>
              </a:extLst>
            </p:cNvPr>
            <p:cNvSpPr/>
            <p:nvPr/>
          </p:nvSpPr>
          <p:spPr>
            <a:xfrm>
              <a:off x="0" y="3991325"/>
              <a:ext cx="5785301" cy="595877"/>
            </a:xfrm>
            <a:prstGeom prst="roundRect">
              <a:avLst>
                <a:gd name="adj" fmla="val 16667"/>
              </a:avLst>
            </a:prstGeom>
            <a:solidFill>
              <a:srgbClr val="4372C3"/>
            </a:solidFill>
            <a:ln w="12700" cap="flat" cmpd="sng">
              <a:solidFill>
                <a:schemeClr val="lt1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" name="Google Shape;138;p22">
              <a:extLst>
                <a:ext uri="{FF2B5EF4-FFF2-40B4-BE49-F238E27FC236}">
                  <a16:creationId xmlns:a16="http://schemas.microsoft.com/office/drawing/2014/main" id="{F59A5E65-2B11-46A0-9F96-8022763C43A0}"/>
                </a:ext>
              </a:extLst>
            </p:cNvPr>
            <p:cNvSpPr txBox="1"/>
            <p:nvPr/>
          </p:nvSpPr>
          <p:spPr>
            <a:xfrm>
              <a:off x="29088" y="4020413"/>
              <a:ext cx="5727125" cy="537701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57150" tIns="57150" rIns="57150" bIns="57150" anchor="ctr" anchorCtr="0">
              <a:noAutofit/>
            </a:bodyPr>
            <a:lstStyle/>
            <a:p>
              <a:pPr marL="0" marR="0" lvl="0" indent="0" algn="l" rtl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500"/>
                <a:buFont typeface="Calibri"/>
                <a:buNone/>
              </a:pPr>
              <a:r>
                <a:rPr lang="ru-RU" sz="1500">
                  <a:solidFill>
                    <a:schemeClr val="lt1"/>
                  </a:solidFill>
                  <a:latin typeface="Calibri"/>
                  <a:ea typeface="Calibri"/>
                  <a:cs typeface="Calibri"/>
                  <a:sym typeface="Calibri"/>
                </a:rPr>
                <a:t>7. Способность выстраивать сложные системы коммуникации, направленные на решение проблемы</a:t>
              </a:r>
              <a:endParaRPr sz="15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22" name="Google Shape;139;p22">
            <a:extLst>
              <a:ext uri="{FF2B5EF4-FFF2-40B4-BE49-F238E27FC236}">
                <a16:creationId xmlns:a16="http://schemas.microsoft.com/office/drawing/2014/main" id="{8D251362-BE5F-4700-A810-439E4190F78F}"/>
              </a:ext>
            </a:extLst>
          </p:cNvPr>
          <p:cNvSpPr txBox="1">
            <a:spLocks/>
          </p:cNvSpPr>
          <p:nvPr/>
        </p:nvSpPr>
        <p:spPr>
          <a:xfrm>
            <a:off x="554792" y="630073"/>
            <a:ext cx="3194248" cy="559785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9pPr>
          </a:lstStyle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ct val="100000"/>
              <a:buNone/>
            </a:pPr>
            <a:endParaRPr lang="ru-RU" sz="1600" dirty="0"/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ct val="100000"/>
              <a:buNone/>
            </a:pPr>
            <a:r>
              <a:rPr lang="ru-RU" sz="1600" b="1" dirty="0">
                <a:solidFill>
                  <a:schemeClr val="tx2"/>
                </a:solidFill>
              </a:rPr>
              <a:t>ТРАНСПРОФЕССИОНАЛИЗМ</a:t>
            </a: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ct val="100000"/>
              <a:buNone/>
            </a:pPr>
            <a:endParaRPr lang="ru-RU" sz="1600" dirty="0"/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ct val="100000"/>
              <a:buNone/>
            </a:pPr>
            <a:endParaRPr lang="ru-RU" sz="1600" dirty="0"/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ct val="100000"/>
              <a:buNone/>
            </a:pPr>
            <a:r>
              <a:rPr lang="ru-RU" sz="1600" dirty="0"/>
              <a:t>1. Принцип индивидуального творчества (обучение и самообучение)</a:t>
            </a:r>
          </a:p>
          <a:p>
            <a:pPr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ct val="100000"/>
              <a:buNone/>
            </a:pPr>
            <a:r>
              <a:rPr lang="ru-RU" sz="1600" dirty="0"/>
              <a:t>2. Принцип социального творчества (высокий уровень социальной ответственности и активности, в том числе через социальные сети)</a:t>
            </a:r>
          </a:p>
          <a:p>
            <a:pPr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ct val="100000"/>
              <a:buNone/>
            </a:pPr>
            <a:r>
              <a:rPr lang="ru-RU" sz="1600" dirty="0"/>
              <a:t>3. Принцип культурного творчества (ориентация на культурные  достижения; инновационный характер деятельности)</a:t>
            </a:r>
          </a:p>
          <a:p>
            <a:pPr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ct val="100000"/>
              <a:buNone/>
            </a:pPr>
            <a:r>
              <a:rPr lang="ru-RU" sz="1600" dirty="0"/>
              <a:t>4. Принцип морального творчества (этичность профессиональной деятельности)</a:t>
            </a:r>
          </a:p>
        </p:txBody>
      </p:sp>
    </p:spTree>
    <p:extLst>
      <p:ext uri="{BB962C8B-B14F-4D97-AF65-F5344CB8AC3E}">
        <p14:creationId xmlns:p14="http://schemas.microsoft.com/office/powerpoint/2010/main" val="26536507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5">
            <a:extLst>
              <a:ext uri="{FF2B5EF4-FFF2-40B4-BE49-F238E27FC236}">
                <a16:creationId xmlns:a16="http://schemas.microsoft.com/office/drawing/2014/main" id="{463DDA8A-CEF4-3B48-8543-8956C9B0B3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56080" y="950655"/>
            <a:ext cx="2281555" cy="4164648"/>
          </a:xfrm>
        </p:spPr>
        <p:txBody>
          <a:bodyPr/>
          <a:lstStyle/>
          <a:p>
            <a:pPr defTabSz="685806"/>
            <a:r>
              <a:rPr lang="ru-RU" b="1" dirty="0">
                <a:solidFill>
                  <a:schemeClr val="tx2"/>
                </a:solidFill>
                <a:latin typeface="Arial Nova Light" panose="020B0304020202020204" pitchFamily="34" charset="0"/>
                <a:cs typeface="Arial" panose="020B0604020202020204" pitchFamily="34" charset="0"/>
              </a:rPr>
              <a:t>23 Территории опережающего развития</a:t>
            </a:r>
            <a:br>
              <a:rPr lang="ru-RU" b="1" dirty="0">
                <a:solidFill>
                  <a:schemeClr val="tx2"/>
                </a:solidFill>
                <a:latin typeface="Arial Nova Light" panose="020B0304020202020204" pitchFamily="34" charset="0"/>
                <a:cs typeface="Arial" panose="020B0604020202020204" pitchFamily="34" charset="0"/>
              </a:rPr>
            </a:br>
            <a:br>
              <a:rPr lang="ru-RU" b="1" dirty="0">
                <a:solidFill>
                  <a:schemeClr val="tx2"/>
                </a:solidFill>
                <a:latin typeface="Arial Nova Light" panose="020B0304020202020204" pitchFamily="34" charset="0"/>
                <a:cs typeface="Arial" panose="020B0604020202020204" pitchFamily="34" charset="0"/>
              </a:rPr>
            </a:br>
            <a:br>
              <a:rPr lang="ru-RU" b="1" dirty="0">
                <a:solidFill>
                  <a:schemeClr val="tx2"/>
                </a:solidFill>
                <a:latin typeface="Arial Nova Light" panose="020B0304020202020204" pitchFamily="34" charset="0"/>
                <a:cs typeface="Arial" panose="020B0604020202020204" pitchFamily="34" charset="0"/>
              </a:rPr>
            </a:br>
            <a:r>
              <a:rPr lang="ru-RU" b="1" dirty="0">
                <a:solidFill>
                  <a:schemeClr val="tx2"/>
                </a:solidFill>
                <a:latin typeface="Arial Nova Light" panose="020B0304020202020204" pitchFamily="34" charset="0"/>
                <a:cs typeface="Arial" panose="020B0604020202020204" pitchFamily="34" charset="0"/>
              </a:rPr>
              <a:t>Свободный порт Владивосток</a:t>
            </a:r>
            <a:br>
              <a:rPr lang="ru-RU" b="1" dirty="0">
                <a:solidFill>
                  <a:schemeClr val="tx2"/>
                </a:solidFill>
                <a:latin typeface="Arial Nova Light" panose="020B0304020202020204" pitchFamily="34" charset="0"/>
                <a:cs typeface="Arial" panose="020B0604020202020204" pitchFamily="34" charset="0"/>
              </a:rPr>
            </a:br>
            <a:br>
              <a:rPr lang="ru-RU" b="1" dirty="0">
                <a:solidFill>
                  <a:schemeClr val="tx2"/>
                </a:solidFill>
                <a:latin typeface="Arial Nova Light" panose="020B0304020202020204" pitchFamily="34" charset="0"/>
                <a:cs typeface="Arial" panose="020B0604020202020204" pitchFamily="34" charset="0"/>
              </a:rPr>
            </a:br>
            <a:br>
              <a:rPr lang="ru-RU" b="1" dirty="0">
                <a:solidFill>
                  <a:schemeClr val="tx2"/>
                </a:solidFill>
                <a:latin typeface="Arial Nova Light" panose="020B0304020202020204" pitchFamily="34" charset="0"/>
                <a:cs typeface="Arial" panose="020B0604020202020204" pitchFamily="34" charset="0"/>
              </a:rPr>
            </a:br>
            <a:r>
              <a:rPr lang="ru-RU" b="1" dirty="0">
                <a:solidFill>
                  <a:schemeClr val="tx2"/>
                </a:solidFill>
                <a:latin typeface="Arial Nova Light" panose="020B0304020202020204" pitchFamily="34" charset="0"/>
                <a:cs typeface="Arial" panose="020B0604020202020204" pitchFamily="34" charset="0"/>
              </a:rPr>
              <a:t>Более 500 резидентов</a:t>
            </a:r>
            <a:br>
              <a:rPr lang="ru-RU" b="1" dirty="0">
                <a:solidFill>
                  <a:schemeClr val="tx2"/>
                </a:solidFill>
                <a:latin typeface="Arial Nova Light" panose="020B0304020202020204" pitchFamily="34" charset="0"/>
                <a:cs typeface="Arial" panose="020B0604020202020204" pitchFamily="34" charset="0"/>
              </a:rPr>
            </a:br>
            <a:br>
              <a:rPr lang="ru-RU" b="1" dirty="0">
                <a:solidFill>
                  <a:schemeClr val="tx2"/>
                </a:solidFill>
                <a:latin typeface="Arial Nova Light" panose="020B0304020202020204" pitchFamily="34" charset="0"/>
                <a:cs typeface="Arial" panose="020B0604020202020204" pitchFamily="34" charset="0"/>
              </a:rPr>
            </a:br>
            <a:br>
              <a:rPr lang="ru-RU" b="1" dirty="0">
                <a:solidFill>
                  <a:schemeClr val="tx2"/>
                </a:solidFill>
                <a:latin typeface="Arial Nova Light" panose="020B0304020202020204" pitchFamily="34" charset="0"/>
                <a:cs typeface="Arial" panose="020B0604020202020204" pitchFamily="34" charset="0"/>
              </a:rPr>
            </a:br>
            <a:r>
              <a:rPr lang="ru-RU" b="1" dirty="0">
                <a:solidFill>
                  <a:schemeClr val="tx2"/>
                </a:solidFill>
                <a:latin typeface="Arial Nova Light" panose="020B0304020202020204" pitchFamily="34" charset="0"/>
                <a:cs typeface="Arial" panose="020B0604020202020204" pitchFamily="34" charset="0"/>
              </a:rPr>
              <a:t>Более 100 000 рабочих мест</a:t>
            </a:r>
            <a:br>
              <a:rPr lang="ru-RU" b="1" dirty="0">
                <a:solidFill>
                  <a:schemeClr val="accent6">
                    <a:lumMod val="75000"/>
                  </a:schemeClr>
                </a:solidFill>
                <a:latin typeface="Arial Nova Light" panose="020B0304020202020204" pitchFamily="34" charset="0"/>
                <a:cs typeface="Arial" panose="020B0604020202020204" pitchFamily="34" charset="0"/>
              </a:rPr>
            </a:br>
            <a:endParaRPr lang="ru-RU" dirty="0"/>
          </a:p>
        </p:txBody>
      </p:sp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4B0D90D6-42F7-49FC-8967-3CC34AEFB4E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861420" y="541721"/>
            <a:ext cx="6182500" cy="5901477"/>
          </a:xfrm>
          <a:prstGeom prst="rect">
            <a:avLst/>
          </a:prstGeom>
        </p:spPr>
      </p:pic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570C52EE-C949-41F4-8DFE-07A7FA372B7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550658" y="5223230"/>
            <a:ext cx="720000" cy="720000"/>
          </a:xfrm>
          <a:prstGeom prst="rect">
            <a:avLst/>
          </a:prstGeom>
        </p:spPr>
      </p:pic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4477112C-0361-407B-B25D-7AAFEFA06FBC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550658" y="2545148"/>
            <a:ext cx="720000" cy="720000"/>
          </a:xfrm>
          <a:prstGeom prst="rect">
            <a:avLst/>
          </a:prstGeom>
        </p:spPr>
      </p:pic>
      <p:pic>
        <p:nvPicPr>
          <p:cNvPr id="10" name="Рисунок 9">
            <a:extLst>
              <a:ext uri="{FF2B5EF4-FFF2-40B4-BE49-F238E27FC236}">
                <a16:creationId xmlns:a16="http://schemas.microsoft.com/office/drawing/2014/main" id="{D3F471B1-AE48-4E02-A98D-F42F4EED3C47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550658" y="950655"/>
            <a:ext cx="720000" cy="720000"/>
          </a:xfrm>
          <a:prstGeom prst="rect">
            <a:avLst/>
          </a:prstGeom>
        </p:spPr>
      </p:pic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7388A64B-E95B-423C-97CD-C4E2ABDC0B1A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679229" y="3974188"/>
            <a:ext cx="617142" cy="7199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152862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3">
            <a:extLst>
              <a:ext uri="{FF2B5EF4-FFF2-40B4-BE49-F238E27FC236}">
                <a16:creationId xmlns:a16="http://schemas.microsoft.com/office/drawing/2014/main" id="{3C503A23-1DE1-514C-BB7E-DCBCF037C14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b="1" dirty="0">
                <a:solidFill>
                  <a:schemeClr val="tx2"/>
                </a:solidFill>
              </a:rPr>
              <a:t>Миф 7. Успех только для избранных</a:t>
            </a:r>
          </a:p>
        </p:txBody>
      </p:sp>
      <p:pic>
        <p:nvPicPr>
          <p:cNvPr id="7" name="Picture 2" descr="Рисунок карандашом подвиги геракла – Картинки 12 подвигов Геракла (12 фото)  • Прикольные картинки и юмор — Артист-Ойл">
            <a:extLst>
              <a:ext uri="{FF2B5EF4-FFF2-40B4-BE49-F238E27FC236}">
                <a16:creationId xmlns:a16="http://schemas.microsoft.com/office/drawing/2014/main" id="{7051EBDB-43FA-4A9F-9CD2-2B5F732126F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10443" y="1424294"/>
            <a:ext cx="6616967" cy="52046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767284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435EA80B-9682-4D6B-9A3E-943AB095614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987984" y="1636000"/>
            <a:ext cx="8950016" cy="4601287"/>
          </a:xfrm>
          <a:prstGeom prst="rect">
            <a:avLst/>
          </a:prstGeom>
        </p:spPr>
      </p:pic>
      <p:sp>
        <p:nvSpPr>
          <p:cNvPr id="7" name="Заголовок 6">
            <a:extLst>
              <a:ext uri="{FF2B5EF4-FFF2-40B4-BE49-F238E27FC236}">
                <a16:creationId xmlns:a16="http://schemas.microsoft.com/office/drawing/2014/main" id="{DFCA3928-2EC6-42E3-9FDC-C0481B8EDE85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630238" y="620713"/>
            <a:ext cx="10933112" cy="5857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ru-RU" sz="2000" b="1" dirty="0" err="1"/>
              <a:t>Кванториум</a:t>
            </a:r>
            <a:endParaRPr lang="ru-RU" sz="2000" b="1" dirty="0"/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ru-RU" sz="2000" b="1" dirty="0"/>
              <a:t>Сириус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ru-RU" sz="2000" b="1" dirty="0"/>
              <a:t>ГТО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ru-RU" sz="2000" b="1" dirty="0"/>
              <a:t>Олимпиады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ru-RU" sz="2000" b="1" dirty="0" err="1"/>
              <a:t>Волонтерство</a:t>
            </a:r>
            <a:endParaRPr lang="ru-RU" sz="2000" b="1" dirty="0"/>
          </a:p>
        </p:txBody>
      </p:sp>
    </p:spTree>
    <p:extLst>
      <p:ext uri="{BB962C8B-B14F-4D97-AF65-F5344CB8AC3E}">
        <p14:creationId xmlns:p14="http://schemas.microsoft.com/office/powerpoint/2010/main" val="30951078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86B367AC-88BB-4493-B13B-7A8AE42085A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22232" y="167679"/>
            <a:ext cx="8364069" cy="3261321"/>
          </a:xfrm>
          <a:prstGeom prst="rect">
            <a:avLst/>
          </a:prstGeom>
        </p:spPr>
      </p:pic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6BA29B0F-E17B-4978-A93F-AA0F87BEBDC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183068" y="2824480"/>
            <a:ext cx="6786699" cy="38658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554561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5">
            <a:extLst>
              <a:ext uri="{FF2B5EF4-FFF2-40B4-BE49-F238E27FC236}">
                <a16:creationId xmlns:a16="http://schemas.microsoft.com/office/drawing/2014/main" id="{463DDA8A-CEF4-3B48-8543-8956C9B0B3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620712"/>
            <a:ext cx="4856400" cy="4835207"/>
          </a:xfrm>
        </p:spPr>
        <p:txBody>
          <a:bodyPr/>
          <a:lstStyle/>
          <a:p>
            <a:pPr lvl="0"/>
            <a:r>
              <a:rPr lang="ru-RU" sz="2000" b="1" dirty="0">
                <a:solidFill>
                  <a:schemeClr val="tx2"/>
                </a:solidFill>
              </a:rPr>
              <a:t>Принципы </a:t>
            </a:r>
            <a:r>
              <a:rPr lang="ru-RU" sz="2000" b="1" dirty="0" err="1">
                <a:solidFill>
                  <a:schemeClr val="tx2"/>
                </a:solidFill>
              </a:rPr>
              <a:t>Икигай</a:t>
            </a:r>
            <a:r>
              <a:rPr lang="ru-RU" sz="2000" b="1" dirty="0">
                <a:solidFill>
                  <a:schemeClr val="tx2"/>
                </a:solidFill>
              </a:rPr>
              <a:t>:</a:t>
            </a:r>
            <a:br>
              <a:rPr lang="ru-RU" sz="1800" dirty="0"/>
            </a:br>
            <a:br>
              <a:rPr lang="ru-RU" sz="1800" dirty="0"/>
            </a:br>
            <a:r>
              <a:rPr lang="ru-RU" sz="1800" dirty="0"/>
              <a:t>1. Начинать с малого.</a:t>
            </a:r>
            <a:br>
              <a:rPr lang="ru-RU" sz="1800" dirty="0"/>
            </a:br>
            <a:br>
              <a:rPr lang="ru-RU" sz="1800" dirty="0"/>
            </a:br>
            <a:r>
              <a:rPr lang="ru-RU" sz="1800" dirty="0"/>
              <a:t>2. Освободить себя. Осуществлять свои цели, а не чужие ожидания.</a:t>
            </a:r>
            <a:br>
              <a:rPr lang="ru-RU" sz="1800" dirty="0"/>
            </a:br>
            <a:br>
              <a:rPr lang="ru-RU" sz="1800" dirty="0"/>
            </a:br>
            <a:r>
              <a:rPr lang="ru-RU" sz="1800" dirty="0"/>
              <a:t>3. Обрести гармонию и устойчивость. Идти к своей мечте можно только помня о других людях, природе и окружающем мире. </a:t>
            </a:r>
            <a:br>
              <a:rPr lang="ru-RU" sz="1800" dirty="0"/>
            </a:br>
            <a:br>
              <a:rPr lang="ru-RU" sz="1800" dirty="0"/>
            </a:br>
            <a:r>
              <a:rPr lang="ru-RU" sz="1800" dirty="0"/>
              <a:t>4. Радоваться мелочам. Мысленно отмечайте вещи, которые дарят вам удовольствие, радуйтесь им и будьте благодарны судьбе за эти мелочи. </a:t>
            </a:r>
            <a:br>
              <a:rPr lang="ru-RU" sz="1800" dirty="0"/>
            </a:br>
            <a:br>
              <a:rPr lang="ru-RU" sz="1800" dirty="0"/>
            </a:br>
            <a:r>
              <a:rPr lang="ru-RU" sz="1800" dirty="0"/>
              <a:t>5. Быть здесь и сейчас. Вы работаете не для того, чтобы заработать деньги на жизнь, а потому что вы получаете от этого наслаждение, самореализуетесь, достигаете своих целей и делаете мир лучше.</a:t>
            </a:r>
            <a:br>
              <a:rPr lang="ru-RU" sz="1800" dirty="0"/>
            </a:br>
            <a:endParaRPr lang="ru-RU" sz="1800" b="1" dirty="0">
              <a:solidFill>
                <a:schemeClr val="tx2"/>
              </a:solidFill>
            </a:endParaRPr>
          </a:p>
        </p:txBody>
      </p:sp>
      <p:pic>
        <p:nvPicPr>
          <p:cNvPr id="9" name="Рисунок 8" descr="ÐÐ¾ÑÐ¾Ð¶ÐµÐµ Ð¸Ð·Ð¾Ð±ÑÐ°Ð¶ÐµÐ½Ð¸Ðµ">
            <a:extLst>
              <a:ext uri="{FF2B5EF4-FFF2-40B4-BE49-F238E27FC236}">
                <a16:creationId xmlns:a16="http://schemas.microsoft.com/office/drawing/2014/main" id="{2B55FF9E-25EB-4FD2-B52D-7876FB2F4651}"/>
              </a:ext>
            </a:extLst>
          </p:cNvPr>
          <p:cNvPicPr/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96000" y="545275"/>
            <a:ext cx="4640895" cy="557658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644568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2">
            <a:extLst>
              <a:ext uri="{FF2B5EF4-FFF2-40B4-BE49-F238E27FC236}">
                <a16:creationId xmlns:a16="http://schemas.microsoft.com/office/drawing/2014/main" id="{E250CD1C-69FF-2A4D-85D3-56982FDBC8E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6000" y="2023200"/>
            <a:ext cx="4470320" cy="2811600"/>
          </a:xfrm>
        </p:spPr>
        <p:txBody>
          <a:bodyPr/>
          <a:lstStyle/>
          <a:p>
            <a:r>
              <a:rPr lang="ru-RU" b="1" dirty="0">
                <a:solidFill>
                  <a:schemeClr val="tx2"/>
                </a:solidFill>
              </a:rPr>
              <a:t>Спасибо за внимание!</a:t>
            </a:r>
            <a:br>
              <a:rPr lang="ru-RU" b="1" dirty="0">
                <a:solidFill>
                  <a:schemeClr val="tx2"/>
                </a:solidFill>
              </a:rPr>
            </a:br>
            <a:br>
              <a:rPr lang="ru-RU" dirty="0">
                <a:solidFill>
                  <a:schemeClr val="tx2"/>
                </a:solidFill>
              </a:rPr>
            </a:br>
            <a:r>
              <a:rPr lang="ru-RU" dirty="0">
                <a:solidFill>
                  <a:schemeClr val="tx2"/>
                </a:solidFill>
              </a:rPr>
              <a:t>Горшунова Светлана Андреевна</a:t>
            </a:r>
            <a:br>
              <a:rPr lang="ru-RU" dirty="0">
                <a:solidFill>
                  <a:schemeClr val="tx2"/>
                </a:solidFill>
              </a:rPr>
            </a:br>
            <a:br>
              <a:rPr lang="ru-RU" dirty="0">
                <a:solidFill>
                  <a:schemeClr val="tx2"/>
                </a:solidFill>
              </a:rPr>
            </a:br>
            <a:r>
              <a:rPr lang="ru-RU" dirty="0">
                <a:solidFill>
                  <a:schemeClr val="tx2"/>
                </a:solidFill>
              </a:rPr>
              <a:t>89681422006</a:t>
            </a:r>
            <a:br>
              <a:rPr lang="ru-RU" dirty="0">
                <a:solidFill>
                  <a:schemeClr val="tx2"/>
                </a:solidFill>
              </a:rPr>
            </a:br>
            <a:br>
              <a:rPr lang="ru-RU" dirty="0">
                <a:solidFill>
                  <a:schemeClr val="tx2"/>
                </a:solidFill>
              </a:rPr>
            </a:br>
            <a:r>
              <a:rPr lang="en-US" dirty="0">
                <a:solidFill>
                  <a:schemeClr val="tx2"/>
                </a:solidFill>
              </a:rPr>
              <a:t>@</a:t>
            </a:r>
            <a:r>
              <a:rPr lang="en-US" sz="1600" b="1" dirty="0" err="1">
                <a:solidFill>
                  <a:schemeClr val="tx2"/>
                </a:solidFill>
              </a:rPr>
              <a:t>Svetlana_gorshunova.vladivosto</a:t>
            </a:r>
            <a:endParaRPr lang="ru-RU" sz="1600" b="1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398042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FA92F06F-73BB-40EA-9D67-053C4B64EBF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1945" y="186496"/>
            <a:ext cx="9536775" cy="6485007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D81BEAA1-1E3F-48B3-AC8F-3589BF44CBD3}"/>
              </a:ext>
            </a:extLst>
          </p:cNvPr>
          <p:cNvSpPr txBox="1"/>
          <p:nvPr/>
        </p:nvSpPr>
        <p:spPr>
          <a:xfrm>
            <a:off x="6376598" y="4341950"/>
            <a:ext cx="5273457" cy="1569660"/>
          </a:xfrm>
          <a:prstGeom prst="rect">
            <a:avLst/>
          </a:prstGeom>
          <a:solidFill>
            <a:schemeClr val="accent3"/>
          </a:solidFill>
        </p:spPr>
        <p:txBody>
          <a:bodyPr wrap="square" rtlCol="0">
            <a:spAutoFit/>
          </a:bodyPr>
          <a:lstStyle/>
          <a:p>
            <a:r>
              <a:rPr lang="ru-RU" sz="3200" b="1" dirty="0"/>
              <a:t>Миф 1:</a:t>
            </a:r>
          </a:p>
          <a:p>
            <a:r>
              <a:rPr lang="ru-RU" sz="3200" b="1" dirty="0"/>
              <a:t>Получение образования очень дорого</a:t>
            </a:r>
          </a:p>
        </p:txBody>
      </p:sp>
    </p:spTree>
    <p:extLst>
      <p:ext uri="{BB962C8B-B14F-4D97-AF65-F5344CB8AC3E}">
        <p14:creationId xmlns:p14="http://schemas.microsoft.com/office/powerpoint/2010/main" val="10935127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Текст 4">
            <a:extLst>
              <a:ext uri="{FF2B5EF4-FFF2-40B4-BE49-F238E27FC236}">
                <a16:creationId xmlns:a16="http://schemas.microsoft.com/office/drawing/2014/main" id="{A89A6E4E-AFDD-4648-AD06-AC7193A65F2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28650" y="4876800"/>
            <a:ext cx="10934700" cy="1647825"/>
          </a:xfrm>
        </p:spPr>
        <p:txBody>
          <a:bodyPr/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ru-RU" sz="1400" dirty="0">
                <a:solidFill>
                  <a:schemeClr val="tx1"/>
                </a:solidFill>
              </a:rPr>
              <a:t>Сайт учебного заведения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ru-RU" sz="1400" dirty="0">
                <a:solidFill>
                  <a:schemeClr val="tx1"/>
                </a:solidFill>
              </a:rPr>
              <a:t>Раздел «Абитуриенту» или «Поступление»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ru-RU" sz="1400" dirty="0">
                <a:solidFill>
                  <a:schemeClr val="tx1"/>
                </a:solidFill>
              </a:rPr>
              <a:t>Информация о приеме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ru-RU" sz="1400" dirty="0">
                <a:solidFill>
                  <a:schemeClr val="tx1"/>
                </a:solidFill>
              </a:rPr>
              <a:t>Информация о проходных баллах</a:t>
            </a:r>
          </a:p>
          <a:p>
            <a:endParaRPr lang="ru-RU" dirty="0"/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id="{3C503A23-1DE1-514C-BB7E-DCBCF037C14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b="1" dirty="0">
                <a:solidFill>
                  <a:schemeClr val="tx2"/>
                </a:solidFill>
              </a:rPr>
              <a:t>Информация о количестве бюджетных мест</a:t>
            </a:r>
          </a:p>
        </p:txBody>
      </p:sp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2225682B-543D-48E9-A79B-135B8B7040F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01370" y="1244484"/>
            <a:ext cx="10029190" cy="29936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364860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Текст 4">
            <a:extLst>
              <a:ext uri="{FF2B5EF4-FFF2-40B4-BE49-F238E27FC236}">
                <a16:creationId xmlns:a16="http://schemas.microsoft.com/office/drawing/2014/main" id="{A89A6E4E-AFDD-4648-AD06-AC7193A65F2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ru-RU" dirty="0"/>
              <a:t>Правила целевого обучения будут пересматриваться</a:t>
            </a: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id="{3C503A23-1DE1-514C-BB7E-DCBCF037C14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b="1" dirty="0">
                <a:solidFill>
                  <a:schemeClr val="tx2"/>
                </a:solidFill>
              </a:rPr>
              <a:t>Как поступить по программе целевого обучения в рамках квоты?</a:t>
            </a:r>
          </a:p>
        </p:txBody>
      </p:sp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4AF24ED2-0CCF-4A02-A1FF-876FF8C99B9F}"/>
              </a:ext>
            </a:extLst>
          </p:cNvPr>
          <p:cNvSpPr/>
          <p:nvPr/>
        </p:nvSpPr>
        <p:spPr>
          <a:xfrm>
            <a:off x="628650" y="2371412"/>
            <a:ext cx="5213350" cy="970577"/>
          </a:xfrm>
          <a:prstGeom prst="rect">
            <a:avLst/>
          </a:prstGeom>
          <a:solidFill>
            <a:srgbClr val="F0F4F6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1200" dirty="0">
              <a:solidFill>
                <a:schemeClr val="tx2"/>
              </a:solidFill>
            </a:endParaRPr>
          </a:p>
        </p:txBody>
      </p:sp>
      <p:sp>
        <p:nvSpPr>
          <p:cNvPr id="7" name="Прямоугольник 6">
            <a:extLst>
              <a:ext uri="{FF2B5EF4-FFF2-40B4-BE49-F238E27FC236}">
                <a16:creationId xmlns:a16="http://schemas.microsoft.com/office/drawing/2014/main" id="{4654F84D-7B40-416F-9C75-DCD0006B4928}"/>
              </a:ext>
            </a:extLst>
          </p:cNvPr>
          <p:cNvSpPr/>
          <p:nvPr/>
        </p:nvSpPr>
        <p:spPr>
          <a:xfrm>
            <a:off x="628650" y="3692212"/>
            <a:ext cx="5213350" cy="970577"/>
          </a:xfrm>
          <a:prstGeom prst="rect">
            <a:avLst/>
          </a:prstGeom>
          <a:solidFill>
            <a:srgbClr val="F0F4F6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1200">
              <a:solidFill>
                <a:srgbClr val="FFFFFF"/>
              </a:solidFill>
            </a:endParaRPr>
          </a:p>
        </p:txBody>
      </p:sp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7EFFE7E8-661D-4A80-BBA2-28D77F562F34}"/>
              </a:ext>
            </a:extLst>
          </p:cNvPr>
          <p:cNvSpPr/>
          <p:nvPr/>
        </p:nvSpPr>
        <p:spPr>
          <a:xfrm>
            <a:off x="628650" y="5007932"/>
            <a:ext cx="5213350" cy="970577"/>
          </a:xfrm>
          <a:prstGeom prst="rect">
            <a:avLst/>
          </a:prstGeom>
          <a:solidFill>
            <a:srgbClr val="F0F4F6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1200">
              <a:solidFill>
                <a:srgbClr val="FFFFFF"/>
              </a:solidFill>
            </a:endParaRPr>
          </a:p>
        </p:txBody>
      </p:sp>
      <p:sp>
        <p:nvSpPr>
          <p:cNvPr id="9" name="Прямоугольник 8">
            <a:extLst>
              <a:ext uri="{FF2B5EF4-FFF2-40B4-BE49-F238E27FC236}">
                <a16:creationId xmlns:a16="http://schemas.microsoft.com/office/drawing/2014/main" id="{02EA65F6-A8B5-485E-87CB-00BA6899A26D}"/>
              </a:ext>
            </a:extLst>
          </p:cNvPr>
          <p:cNvSpPr/>
          <p:nvPr/>
        </p:nvSpPr>
        <p:spPr>
          <a:xfrm>
            <a:off x="6450330" y="2371412"/>
            <a:ext cx="5213350" cy="970577"/>
          </a:xfrm>
          <a:prstGeom prst="rect">
            <a:avLst/>
          </a:prstGeom>
          <a:solidFill>
            <a:srgbClr val="F0F4F6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1200">
              <a:solidFill>
                <a:srgbClr val="FFFFFF"/>
              </a:solidFill>
            </a:endParaRPr>
          </a:p>
        </p:txBody>
      </p:sp>
      <p:sp>
        <p:nvSpPr>
          <p:cNvPr id="10" name="Прямоугольник 9">
            <a:extLst>
              <a:ext uri="{FF2B5EF4-FFF2-40B4-BE49-F238E27FC236}">
                <a16:creationId xmlns:a16="http://schemas.microsoft.com/office/drawing/2014/main" id="{BA642F78-FC4E-4E21-9398-66DC760717D6}"/>
              </a:ext>
            </a:extLst>
          </p:cNvPr>
          <p:cNvSpPr/>
          <p:nvPr/>
        </p:nvSpPr>
        <p:spPr>
          <a:xfrm>
            <a:off x="6450330" y="3666812"/>
            <a:ext cx="5213350" cy="970577"/>
          </a:xfrm>
          <a:prstGeom prst="rect">
            <a:avLst/>
          </a:prstGeom>
          <a:solidFill>
            <a:srgbClr val="F0F4F6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1200">
              <a:solidFill>
                <a:srgbClr val="FFFFFF"/>
              </a:solidFill>
            </a:endParaRPr>
          </a:p>
        </p:txBody>
      </p:sp>
      <p:sp>
        <p:nvSpPr>
          <p:cNvPr id="11" name="Прямоугольник 10">
            <a:extLst>
              <a:ext uri="{FF2B5EF4-FFF2-40B4-BE49-F238E27FC236}">
                <a16:creationId xmlns:a16="http://schemas.microsoft.com/office/drawing/2014/main" id="{3694468E-E5AE-41F6-8CF6-E57CCC90F33E}"/>
              </a:ext>
            </a:extLst>
          </p:cNvPr>
          <p:cNvSpPr/>
          <p:nvPr/>
        </p:nvSpPr>
        <p:spPr>
          <a:xfrm>
            <a:off x="6450330" y="4977452"/>
            <a:ext cx="5213350" cy="970577"/>
          </a:xfrm>
          <a:prstGeom prst="rect">
            <a:avLst/>
          </a:prstGeom>
          <a:solidFill>
            <a:srgbClr val="F0F4F6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1200">
              <a:solidFill>
                <a:srgbClr val="FFFFFF"/>
              </a:solidFill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A58C2CFA-EF7A-4B40-AC0A-26C103BFBD0A}"/>
              </a:ext>
            </a:extLst>
          </p:cNvPr>
          <p:cNvSpPr txBox="1"/>
          <p:nvPr/>
        </p:nvSpPr>
        <p:spPr>
          <a:xfrm>
            <a:off x="1879600" y="2606687"/>
            <a:ext cx="3616960" cy="471793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bg1">
                    <a:lumMod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wrap="square" lIns="0" tIns="0" rIns="0" bIns="0" rtlCol="0" anchor="ctr">
            <a:no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1200" dirty="0">
                <a:latin typeface="Arial" panose="020B0604020202020204" pitchFamily="34" charset="0"/>
                <a:sym typeface="Arial" panose="020B0604020202020204" pitchFamily="34" charset="0"/>
              </a:rPr>
              <a:t>Выбрать специальность из перечня, утвержденного распоряжением Правительства РФ от 11.02.2019 г № 186-р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18791C6E-D6E7-4234-A123-E9EB89C1366E}"/>
              </a:ext>
            </a:extLst>
          </p:cNvPr>
          <p:cNvSpPr txBox="1"/>
          <p:nvPr/>
        </p:nvSpPr>
        <p:spPr>
          <a:xfrm>
            <a:off x="1879600" y="3901440"/>
            <a:ext cx="3535680" cy="605461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bg1">
                    <a:lumMod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wrap="square" lIns="0" tIns="0" rIns="0" bIns="0" rtlCol="0" anchor="ctr">
            <a:no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1200" dirty="0">
                <a:latin typeface="Arial" panose="020B0604020202020204" pitchFamily="34" charset="0"/>
                <a:sym typeface="Arial" panose="020B0604020202020204" pitchFamily="34" charset="0"/>
              </a:rPr>
              <a:t>Узнать, какой работодатель является заказчиком целевого обучения, и обратиться к нему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0752D4D9-E06A-47CF-955E-F8554B80BE4E}"/>
              </a:ext>
            </a:extLst>
          </p:cNvPr>
          <p:cNvSpPr txBox="1"/>
          <p:nvPr/>
        </p:nvSpPr>
        <p:spPr>
          <a:xfrm>
            <a:off x="1879600" y="5190489"/>
            <a:ext cx="3535680" cy="605461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bg1">
                    <a:lumMod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wrap="square" lIns="0" tIns="0" rIns="0" bIns="0" rtlCol="0" anchor="ctr">
            <a:no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1200" dirty="0">
                <a:latin typeface="Arial" panose="020B0604020202020204" pitchFamily="34" charset="0"/>
                <a:sym typeface="Arial" panose="020B0604020202020204" pitchFamily="34" charset="0"/>
              </a:rPr>
              <a:t>Заключить с работодателем Договор о целевом обучении (после того, как вуз получит квоту)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11A99DA1-9E83-4AEF-8A30-30E4ED1616B9}"/>
              </a:ext>
            </a:extLst>
          </p:cNvPr>
          <p:cNvSpPr txBox="1"/>
          <p:nvPr/>
        </p:nvSpPr>
        <p:spPr>
          <a:xfrm>
            <a:off x="7752080" y="2501754"/>
            <a:ext cx="3535680" cy="605461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bg1">
                    <a:lumMod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wrap="square" lIns="0" tIns="0" rIns="0" bIns="0" rtlCol="0" anchor="ctr">
            <a:no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1200" dirty="0">
                <a:latin typeface="Arial" panose="020B0604020202020204" pitchFamily="34" charset="0"/>
                <a:sym typeface="Arial" panose="020B0604020202020204" pitchFamily="34" charset="0"/>
              </a:rPr>
              <a:t>Подобрать вуз, который ведет набор по целевому обучению по выбранному направлению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725983BC-2D67-4465-B646-C519A0BFA396}"/>
              </a:ext>
            </a:extLst>
          </p:cNvPr>
          <p:cNvSpPr txBox="1"/>
          <p:nvPr/>
        </p:nvSpPr>
        <p:spPr>
          <a:xfrm>
            <a:off x="7752080" y="3727630"/>
            <a:ext cx="3535680" cy="605461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bg1">
                    <a:lumMod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wrap="square" lIns="0" tIns="0" rIns="0" bIns="0" rtlCol="0" anchor="ctr">
            <a:no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1200" dirty="0">
                <a:latin typeface="Arial" panose="020B0604020202020204" pitchFamily="34" charset="0"/>
                <a:sym typeface="Arial" panose="020B0604020202020204" pitchFamily="34" charset="0"/>
              </a:rPr>
              <a:t>По требованию работодателя предоставить необходимый пакет документов, пройти конкурсный отбор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A5EF6552-CE93-419D-BA50-B11B1D8C5972}"/>
              </a:ext>
            </a:extLst>
          </p:cNvPr>
          <p:cNvSpPr txBox="1"/>
          <p:nvPr/>
        </p:nvSpPr>
        <p:spPr>
          <a:xfrm>
            <a:off x="7752080" y="5143017"/>
            <a:ext cx="3535680" cy="605461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bg1">
                    <a:lumMod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wrap="square" lIns="0" tIns="0" rIns="0" bIns="0" rtlCol="0" anchor="ctr">
            <a:no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1200" dirty="0">
                <a:latin typeface="Arial" panose="020B0604020202020204" pitchFamily="34" charset="0"/>
                <a:sym typeface="Arial" panose="020B0604020202020204" pitchFamily="34" charset="0"/>
              </a:rPr>
              <a:t>Подать документы в вуз вместе с копией договора о целевом обучении</a:t>
            </a:r>
          </a:p>
        </p:txBody>
      </p:sp>
      <p:pic>
        <p:nvPicPr>
          <p:cNvPr id="16" name="Рисунок 15">
            <a:extLst>
              <a:ext uri="{FF2B5EF4-FFF2-40B4-BE49-F238E27FC236}">
                <a16:creationId xmlns:a16="http://schemas.microsoft.com/office/drawing/2014/main" id="{D81E9C47-335A-43CD-8338-BBBD96F90D7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12725" y="2606687"/>
            <a:ext cx="432000" cy="381352"/>
          </a:xfrm>
          <a:prstGeom prst="rect">
            <a:avLst/>
          </a:prstGeom>
        </p:spPr>
      </p:pic>
      <p:pic>
        <p:nvPicPr>
          <p:cNvPr id="17" name="Рисунок 16">
            <a:extLst>
              <a:ext uri="{FF2B5EF4-FFF2-40B4-BE49-F238E27FC236}">
                <a16:creationId xmlns:a16="http://schemas.microsoft.com/office/drawing/2014/main" id="{5F4111B0-B5BF-41FD-AA26-25F7BEF5A52C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12725" y="5246740"/>
            <a:ext cx="432000" cy="432000"/>
          </a:xfrm>
          <a:prstGeom prst="rect">
            <a:avLst/>
          </a:prstGeom>
        </p:spPr>
      </p:pic>
      <p:pic>
        <p:nvPicPr>
          <p:cNvPr id="18" name="Рисунок 17">
            <a:extLst>
              <a:ext uri="{FF2B5EF4-FFF2-40B4-BE49-F238E27FC236}">
                <a16:creationId xmlns:a16="http://schemas.microsoft.com/office/drawing/2014/main" id="{263492DB-18BB-493D-B540-BC23A1909CDA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6873750" y="2538480"/>
            <a:ext cx="540000" cy="540000"/>
          </a:xfrm>
          <a:prstGeom prst="rect">
            <a:avLst/>
          </a:prstGeom>
        </p:spPr>
      </p:pic>
      <p:pic>
        <p:nvPicPr>
          <p:cNvPr id="19" name="Рисунок 18">
            <a:extLst>
              <a:ext uri="{FF2B5EF4-FFF2-40B4-BE49-F238E27FC236}">
                <a16:creationId xmlns:a16="http://schemas.microsoft.com/office/drawing/2014/main" id="{217E6DCA-E398-4AD5-8F70-CE578D7F6088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924561" y="3887274"/>
            <a:ext cx="520164" cy="520164"/>
          </a:xfrm>
          <a:prstGeom prst="rect">
            <a:avLst/>
          </a:prstGeom>
        </p:spPr>
      </p:pic>
      <p:pic>
        <p:nvPicPr>
          <p:cNvPr id="20" name="Рисунок 19">
            <a:extLst>
              <a:ext uri="{FF2B5EF4-FFF2-40B4-BE49-F238E27FC236}">
                <a16:creationId xmlns:a16="http://schemas.microsoft.com/office/drawing/2014/main" id="{2DC9C40A-B8E8-4032-87F7-DE78BE44C771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6927750" y="3901091"/>
            <a:ext cx="432000" cy="432000"/>
          </a:xfrm>
          <a:prstGeom prst="rect">
            <a:avLst/>
          </a:prstGeom>
        </p:spPr>
      </p:pic>
      <p:pic>
        <p:nvPicPr>
          <p:cNvPr id="21" name="Рисунок 20">
            <a:extLst>
              <a:ext uri="{FF2B5EF4-FFF2-40B4-BE49-F238E27FC236}">
                <a16:creationId xmlns:a16="http://schemas.microsoft.com/office/drawing/2014/main" id="{39D043A6-EAF7-47AA-97F0-8FD1D4EE0D3A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6927750" y="5185620"/>
            <a:ext cx="432000" cy="43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358233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F2183D6B-5995-4C43-836F-FEC40C9D131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620712"/>
            <a:ext cx="4994623" cy="1746567"/>
          </a:xfrm>
        </p:spPr>
        <p:txBody>
          <a:bodyPr/>
          <a:lstStyle/>
          <a:p>
            <a:r>
              <a:rPr lang="ru-RU" b="1" dirty="0">
                <a:solidFill>
                  <a:schemeClr val="tx2"/>
                </a:solidFill>
              </a:rPr>
              <a:t>МИФ 2</a:t>
            </a:r>
            <a:br>
              <a:rPr lang="ru-RU" b="1" dirty="0">
                <a:solidFill>
                  <a:schemeClr val="tx2"/>
                </a:solidFill>
              </a:rPr>
            </a:br>
            <a:br>
              <a:rPr lang="ru-RU" b="1" dirty="0">
                <a:solidFill>
                  <a:schemeClr val="tx2"/>
                </a:solidFill>
              </a:rPr>
            </a:br>
            <a:r>
              <a:rPr lang="ru-RU" b="1" dirty="0">
                <a:solidFill>
                  <a:schemeClr val="tx2"/>
                </a:solidFill>
              </a:rPr>
              <a:t>Хочешь добиться успеха – стань экономистом или юристом</a:t>
            </a:r>
          </a:p>
        </p:txBody>
      </p:sp>
      <p:pic>
        <p:nvPicPr>
          <p:cNvPr id="4" name="Рисунок 3" descr="Изображение выглядит как текст&#10;&#10;Автоматически созданное описание">
            <a:extLst>
              <a:ext uri="{FF2B5EF4-FFF2-40B4-BE49-F238E27FC236}">
                <a16:creationId xmlns:a16="http://schemas.microsoft.com/office/drawing/2014/main" id="{C2F217C9-B200-4CE6-8979-736C6758B88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76306" y="359748"/>
            <a:ext cx="2961827" cy="61385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017985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3">
            <a:extLst>
              <a:ext uri="{FF2B5EF4-FFF2-40B4-BE49-F238E27FC236}">
                <a16:creationId xmlns:a16="http://schemas.microsoft.com/office/drawing/2014/main" id="{B796E357-AFE0-BB4E-B384-EE0F5663AC1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b="1" dirty="0">
                <a:solidFill>
                  <a:schemeClr val="tx2"/>
                </a:solidFill>
              </a:rPr>
              <a:t>Ключевые отрасли Дальнего Востока</a:t>
            </a:r>
          </a:p>
        </p:txBody>
      </p:sp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9DFEFD0B-DD5C-4B13-8544-CFC838A1462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081844" y="620713"/>
            <a:ext cx="1246354" cy="1213769"/>
          </a:xfrm>
          <a:prstGeom prst="rect">
            <a:avLst/>
          </a:prstGeom>
        </p:spPr>
      </p:pic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C32D0884-4017-4DBA-8D47-6E2837D0262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036769" y="620713"/>
            <a:ext cx="1898042" cy="1164893"/>
          </a:xfrm>
          <a:prstGeom prst="rect">
            <a:avLst/>
          </a:prstGeom>
        </p:spPr>
      </p:pic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9BC3D09C-6DA1-4EF0-BA6D-7F36770A89C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826263" y="620713"/>
            <a:ext cx="1523321" cy="1018263"/>
          </a:xfrm>
          <a:prstGeom prst="rect">
            <a:avLst/>
          </a:prstGeom>
        </p:spPr>
      </p:pic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EC9D9CC5-0DCB-43B3-8BFC-31F0DCBF526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260919" y="2727960"/>
            <a:ext cx="1775850" cy="1010117"/>
          </a:xfrm>
          <a:prstGeom prst="rect">
            <a:avLst/>
          </a:prstGeom>
        </p:spPr>
      </p:pic>
      <p:pic>
        <p:nvPicPr>
          <p:cNvPr id="10" name="Рисунок 9">
            <a:extLst>
              <a:ext uri="{FF2B5EF4-FFF2-40B4-BE49-F238E27FC236}">
                <a16:creationId xmlns:a16="http://schemas.microsoft.com/office/drawing/2014/main" id="{C18D6EF8-BB01-4D36-B31B-7ECFD5748623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268933" y="2727960"/>
            <a:ext cx="1433714" cy="1164893"/>
          </a:xfrm>
          <a:prstGeom prst="rect">
            <a:avLst/>
          </a:prstGeom>
        </p:spPr>
      </p:pic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1199113A-9E11-4C0D-9039-DBFADB312B07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826263" y="2591884"/>
            <a:ext cx="1678097" cy="1352253"/>
          </a:xfrm>
          <a:prstGeom prst="rect">
            <a:avLst/>
          </a:prstGeom>
        </p:spPr>
      </p:pic>
      <p:pic>
        <p:nvPicPr>
          <p:cNvPr id="12" name="Рисунок 11">
            <a:extLst>
              <a:ext uri="{FF2B5EF4-FFF2-40B4-BE49-F238E27FC236}">
                <a16:creationId xmlns:a16="http://schemas.microsoft.com/office/drawing/2014/main" id="{86CD0020-CD40-45D9-AEBE-62D43BEB1655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347000" y="4631555"/>
            <a:ext cx="1238208" cy="1181185"/>
          </a:xfrm>
          <a:prstGeom prst="rect">
            <a:avLst/>
          </a:prstGeom>
        </p:spPr>
      </p:pic>
      <p:pic>
        <p:nvPicPr>
          <p:cNvPr id="13" name="Рисунок 12">
            <a:extLst>
              <a:ext uri="{FF2B5EF4-FFF2-40B4-BE49-F238E27FC236}">
                <a16:creationId xmlns:a16="http://schemas.microsoft.com/office/drawing/2014/main" id="{ADA19FF3-25E5-40B5-9278-E81BD4FC8DE2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7268933" y="4631555"/>
            <a:ext cx="1319669" cy="1034555"/>
          </a:xfrm>
          <a:prstGeom prst="rect">
            <a:avLst/>
          </a:prstGeom>
        </p:spPr>
      </p:pic>
      <p:pic>
        <p:nvPicPr>
          <p:cNvPr id="14" name="Рисунок 13">
            <a:extLst>
              <a:ext uri="{FF2B5EF4-FFF2-40B4-BE49-F238E27FC236}">
                <a16:creationId xmlns:a16="http://schemas.microsoft.com/office/drawing/2014/main" id="{1530D959-FCF9-4DE5-BC60-4407923A8950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9891431" y="4631555"/>
            <a:ext cx="1392984" cy="10264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732749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Картинки по запросу &quot;ссср комбайн&quot;">
            <a:extLst>
              <a:ext uri="{FF2B5EF4-FFF2-40B4-BE49-F238E27FC236}">
                <a16:creationId xmlns:a16="http://schemas.microsoft.com/office/drawing/2014/main" id="{A18A04ED-A08E-40B5-B91B-B5F5C2A0C54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8162" y="407649"/>
            <a:ext cx="4332475" cy="28841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4" descr="Картинки по запросу &quot;современный комбайн&quot;">
            <a:extLst>
              <a:ext uri="{FF2B5EF4-FFF2-40B4-BE49-F238E27FC236}">
                <a16:creationId xmlns:a16="http://schemas.microsoft.com/office/drawing/2014/main" id="{87AE35F2-F592-4BED-B4E1-8D887795B8D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9381" y="3734972"/>
            <a:ext cx="4110035" cy="22396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6" descr="Картинки по запросу &quot;современный комбайн кабина&quot;">
            <a:extLst>
              <a:ext uri="{FF2B5EF4-FFF2-40B4-BE49-F238E27FC236}">
                <a16:creationId xmlns:a16="http://schemas.microsoft.com/office/drawing/2014/main" id="{29097380-AB95-4DD3-A94C-5CF40C74D36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48135" y="108265"/>
            <a:ext cx="4385703" cy="31835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8" descr="Картинки по запросу &quot;современный комбайн кабина&quot;">
            <a:extLst>
              <a:ext uri="{FF2B5EF4-FFF2-40B4-BE49-F238E27FC236}">
                <a16:creationId xmlns:a16="http://schemas.microsoft.com/office/drawing/2014/main" id="{F6B1900D-2035-450D-BF72-9BC782A6CCE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15313" y="2707791"/>
            <a:ext cx="5143087" cy="34355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673065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7DB3C053-F3DD-4573-9834-07E2453CA0C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7173" y="362951"/>
            <a:ext cx="4555848" cy="3416886"/>
          </a:xfrm>
          <a:prstGeom prst="rect">
            <a:avLst/>
          </a:prstGeom>
        </p:spPr>
      </p:pic>
      <p:pic>
        <p:nvPicPr>
          <p:cNvPr id="10" name="Рисунок 9" descr="Изображение выглядит как трава, человек, забор, внешний&#10;&#10;Автоматически созданное описание">
            <a:extLst>
              <a:ext uri="{FF2B5EF4-FFF2-40B4-BE49-F238E27FC236}">
                <a16:creationId xmlns:a16="http://schemas.microsoft.com/office/drawing/2014/main" id="{2E7C4644-8701-4EE1-A5A4-E0287243A59E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82901" y="2469547"/>
            <a:ext cx="6545482" cy="36818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038728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4188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0&quot;/&gt;&lt;/m_mruColor&gt;&lt;m_eweekdayFirstOfWeek val=&quot;1&quot;/&gt;&lt;m_eweekdayFirstOfWorkweek val=&quot;2&quot;/&gt;&lt;m_eweekdayFirstOfWeekend val=&quot;7&quot;/&gt;&lt;/CPresentation&gt;&lt;/root&gt;"/>
  <p:tag name="EE4P_MASTERWIZARD_DRAFT" val="0"/>
  <p:tag name="EE4P_LANGUAGE_ID" val="1033"/>
  <p:tag name="EE4P_STYLE_NAME" val="FEDF Far East Grid 16:9"/>
  <p:tag name="EE4P_AGENDAWIZARD" val="&lt;ee4p&gt;&lt;layouts&gt;&lt;layout name=&quot;Section Header&quot; id=&quot;227_1-1&quot;&gt;&lt;standard&gt;&lt;textframe horizontalAnchor=&quot;1&quot; marginBottom=&quot;0&quot; marginLeft=&quot;0&quot; marginRight=&quot;0&quot; marginTop=&quot;0&quot; orientation=&quot;1&quot; verticalAnchor=&quot;1&quot; /&gt;&lt;font name=&quot;Arial&quot; bold=&quot;0&quot; italic=&quot;0&quot; color=&quot;#ffffff&quot; /&gt;&lt;paragraphformat firstLineIndent=&quot;0&quot; leftIndent=&quot;0&quot; rightIndent=&quot;0&quot; lineRuleBefore=&quot;&quot; lineRuleWithin=&quot;&quot; lineRuleAfter=&quot;&quot; spaceBefore=&quot;&quot; spaceWithin=&quot;&quot; spaceAfter=&quot;&quot; /&gt;&lt;fill visible=&quot;0&quot; /&gt;&lt;line visible=&quot;0&quot; /&gt;&lt;bulletformat visible=&quot;0&quot; /&gt;&lt;/standard&gt;&lt;agenda name=&quot;&quot; title=&quot;&quot; subtitle=&quot;&quot; sizingModeId=&quot;1&quot; fontSize=&quot;24&quot; fontSizeAuto=&quot;1&quot; startTime=&quot;540&quot; timeFormatId=&quot;1&quot; startItemNo=&quot;1&quot; createSingleAgendaSlide=&quot;1&quot; createSeparatingSlides=&quot;1&quot; createBackupSlide=&quot;1&quot; /&gt;&lt;columns&gt;&lt;column field=&quot;itemno&quot; label=&quot;No.&quot; checked=&quot;0&quot; leftSpacing=&quot;0&quot; rightSpacing=&quot;0&quot; dock=&quot;1&quot; fixedWidth=&quot;51.87527&quot; /&gt;&lt;column field=&quot;topic&quot; label=&quot;Topic&quot; leftSpacing=&quot;0&quot; rightDistribute=&quot;1&quot; dock=&quot;1&quot; /&gt;&lt;column field=&quot;responsible&quot; label=&quot;Responsible&quot; visible=&quot;0&quot; checked=&quot;0&quot; leftSpacing=&quot;10&quot; rightDistribute=&quot;1&quot; dock=&quot;1&quot; /&gt;&lt;column field=&quot;freecolumn&quot; label=&quot;&quot; visible=&quot;0&quot; checked=&quot;0&quot; leftSpacing=&quot;10&quot; rightDistribute=&quot;1&quot; dock=&quot;1&quot; /&gt;&lt;column field=&quot;timeslot&quot; label=&quot;Time Slot&quot; visible=&quot;1&quot; checked=&quot;0&quot; leftSpacing=&quot;34&quot; rightSpacing=&quot;0&quot; dock=&quot;2&quot; /&gt;&lt;column field=&quot;pageno&quot; label=&quot;Page No.&quot; visible=&quot;0&quot; checked=&quot;0&quot; leftSpacing=&quot;34&quot; rightSpacing=&quot;0&quot; dock=&quot;2&quot; /&gt;&lt;/columns&gt;&lt;position left=&quot;395.4111&quot; top=&quot;116.9109&quot; width=&quot;515.0769&quot; height=&quot;345.2203&quot; /&gt;&lt;!--&#10;      &lt;subtitle&gt;&#10;      &#10;        &lt;position left=&quot;197.597&quot; top=&quot;369.3848&quot; width=&quot;123.634&quot; height=&quot;115.6044&quot; autoshape=&quot;1&quot; rotation=&quot;0&quot; /&gt;&#10;        &lt;line visible=&quot;1&quot; weight=&quot;0.75&quot; style=&quot;1&quot; dashStyle=&quot;1&quot; foreColor=&quot;14&quot; /&gt;&#10;        &lt;fill visible=&quot;0&quot; /&gt;&#10;        &lt;textframe horizontalAnchor=&quot;1&quot; verticalAnchor=&quot;1&quot; orientation=&quot;1&quot; wordWrap=&quot;1&quot; autoSize=&quot;0&quot; marginLeft=&quot;8.503937&quot; marginRight=&quot;0&quot; marginTop=&quot;14.17323&quot; marginBottom=&quot;0&quot; /&gt;&#10;        &lt;paragraphformat alignment=&quot;1&quot; lineRuleBefore=&quot;0&quot; lineRuleWithin=&quot;1&quot; lineRuleAfter=&quot;0&quot; spaceBefore=&quot;0&quot; spaceWithin=&quot;0.95&quot; spaceAfter=&quot;0&quot; /&gt;&#10;        &lt;font name=&quot;Trebuchet MS&quot; size=&quot;10&quot; bold=&quot;0&quot; italic=&quot;0&quot; underlineStyle=&quot;0&quot; color=&quot;#ffffff&quot; spacing=&quot;0&quot; kerning=&quot;12&quot; /&gt;&#10;      &#10;      &lt;/subtitle&gt;&#10;      --&gt;&lt;settings allowedSizingModeIds=&quot;1|2&quot; allowedFontSizes=&quot;8|9|10.5|11|12|14|16|18|20|22|24&quot; allowedTimeFormatIds=&quot;1|2|3&quot; slideLayout=&quot;11&quot; customLayoutName=&quot;Blank blue|Presentation¦Blank blue&quot; customLayoutIndex=&quot;&quot; showBreak=&quot;0&quot; singleAgendaSlideSelected=&quot;0&quot; backupSlideTitle=&quot;Unused Slides&quot; topMargin=&quot;0&quot; leftMargin=&quot;0&quot; allowedLevels=&quot;2&quot; itemNoFormats=&quot;{1}¦{1}.{2}¦{3:alphaLC}¦{3:alphaLC}.{4:alphaLC}&quot; customLayoutNameBackup=&quot;Special gray|Presentation¦Special gray&quot; titlePrompt=&quot;Insert Title&quot; namePrompt=&quot;Insert Date&quot; /&gt;&lt;cases&gt;&lt;case level=&quot;1&quot; single=&quot;1&quot; break=&quot;0&quot; topMinSpacing=&quot;5&quot; topMaxSpacing=&quot;15&quot; bottomMinSpacing=&quot;0&quot; bottomMaxSpacing=&quot;0&quot;&gt;&lt;element field=&quot;topic&quot; type=&quot;autoshape&quot; autoShapeType=&quot;1&quot;&gt;&lt;paragraphformat alignment=&quot;1&quot; lineRuleBefore=&quot;0&quot; lineRuleWithin=&quot;1&quot; lineRuleAfter=&quot;0&quot; spaceBefore=&quot;6&quot; spaceWithin=&quot;1.1&quot; spaceAfter=&quot;3&quot; /&gt;&lt;textframe marginLeft=&quot;0&quot; /&gt;&lt;/element&gt;&lt;element field=&quot;responsible&quot; type=&quot;autoshape&quot; autoShapeType=&quot;1&quot;&gt;&lt;paragraphformat alignment=&quot;1&quot; lineRuleBefore=&quot;0&quot; lineRuleWithin=&quot;1&quot; lineRuleAfter=&quot;0&quot; spaceBefore=&quot;6&quot; spaceWithin=&quot;1.1&quot; spaceAfter=&quot;3&quot; /&gt;&lt;/element&gt;&lt;element field=&quot;freecolumn&quot; type=&quot;autoshape&quot; autoShapeType=&quot;1&quot;&gt;&lt;paragraphformat alignment=&quot;1&quot; lineRuleBefore=&quot;0&quot; lineRuleWithin=&quot;1&quot; lineRuleAfter=&quot;0&quot; spaceBefore=&quot;6&quot; spaceWithin=&quot;1.1&quot; spaceAfter=&quot;3&quot; /&gt;&lt;/element&gt;&lt;element field=&quot;timeslot&quot; type=&quot;autoshape&quot; autoShapeType=&quot;1&quot;&gt;&lt;paragraphformat alignment=&quot;1&quot; lineRuleBefore=&quot;0&quot; lineRuleWithin=&quot;1&quot; lineRuleAfter=&quot;0&quot; spaceBefore=&quot;6&quot; spaceWithin=&quot;1.1&quot; spaceAfter=&quot;3&quot; /&gt;&lt;/element&gt;&lt;element field=&quot;pageno&quot; type=&quot;autoshape&quot; autoShapeType=&quot;1&quot;&gt;&lt;paragraphformat alignment=&quot;3&quot; /&gt;&lt;/element&gt;&lt;/case&gt;&lt;case level=&quot;2&quot; single=&quot;1&quot; break=&quot;0&quot; topMinSpacing=&quot;4&quot; topMaxSpacing=&quot;4&quot; bottomMinSpacing=&quot;0&quot; bottomMaxSpacing=&quot;0&quot;&gt;&lt;element field=&quot;topic&quot; type=&quot;autoshape&quot; autoShapeType=&quot;1&quot;&gt;&lt;paragraphformat alignment=&quot;1&quot; lineRuleBefore=&quot;0&quot; lineRuleWithin=&quot;1&quot; lineRuleAfter=&quot;0&quot; spaceBefore=&quot;6&quot; spaceWithin=&quot;1.1&quot; spaceAfter=&quot;3&quot; /&gt;&lt;textframe marginLeft=&quot;0&quot; /&gt;&lt;font relativeSize=&quot;0.75&quot; /&gt;&lt;/element&gt;&lt;element field=&quot;responsible&quot; type=&quot;autoshape&quot; autoShapeType=&quot;1&quot;&gt;&lt;paragraphformat alignment=&quot;1&quot; lineRuleBefore=&quot;0&quot; lineRuleWithin=&quot;1&quot; lineRuleAfter=&quot;0&quot; spaceBefore=&quot;6&quot; spaceWithin=&quot;1.1&quot; spaceAfter=&quot;3&quot; /&gt;&lt;font relativeSize=&quot;0.75&quot; /&gt;&lt;/element&gt;&lt;element field=&quot;freecolumn&quot; type=&quot;autoshape&quot; autoShapeType=&quot;1&quot;&gt;&lt;paragraphformat alignment=&quot;1&quot; lineRuleBefore=&quot;0&quot; lineRuleWithin=&quot;1&quot; lineRuleAfter=&quot;0&quot; spaceBefore=&quot;6&quot; spaceWithin=&quot;1.1&quot; spaceAfter=&quot;3&quot; /&gt;&lt;font relativeSize=&quot;0.75&quot; /&gt;&lt;/element&gt;&lt;element field=&quot;timeslot&quot; type=&quot;autoshape&quot; autoShapeType=&quot;1&quot;&gt;&lt;paragraphformat alignment=&quot;1&quot; lineRuleBefore=&quot;0&quot; lineRuleWithin=&quot;1&quot; lineRuleAfter=&quot;0&quot; spaceBefore=&quot;6&quot; spaceWithin=&quot;1.1&quot; spaceAfter=&quot;3&quot; /&gt;&lt;font relativeSize=&quot;0.75&quot; /&gt;&lt;/element&gt;&lt;element field=&quot;pageno&quot; type=&quot;autoshape&quot; autoShapeType=&quot;1&quot;&gt;&lt;paragraphformat alignment=&quot;3&quot; /&gt;&lt;font relativeSize=&quot;0.75&quot; /&gt;&lt;/element&gt;&lt;/case&gt;&lt;/cases&gt;&lt;elements&gt;&lt;element type=&quot;autoshape&quot; autoShapeType=&quot;1&quot; value=&quot;%agendaTitle%&quot; slideType=&quot;1&quot;&gt;&lt;position left=&quot;-345.68251&quot; top=&quot;-45.376146&quot; width=&quot;271.5024&quot; height=&quot;274.7323&quot; autoshape=&quot;1&quot; rotation=&quot;0&quot; /&gt;&lt;line visible=&quot;1&quot; weight=&quot;0.75&quot; style=&quot;1&quot; dashStyle=&quot;1&quot; foreColor=&quot;#ffffff&quot; /&gt;&lt;fill visible=&quot;0&quot; /&gt;&lt;textframe horizontalAnchor=&quot;1&quot; verticalAnchor=&quot;1&quot; orientation=&quot;1&quot; wordWrap=&quot;1&quot; autoSize=&quot;0&quot; marginLeft=&quot;0&quot; marginRight=&quot;0&quot; marginTop=&quot;19.84252&quot; marginBottom=&quot;0&quot; /&gt;&lt;paragraphformat alignment=&quot;2&quot; lineRuleBefore=&quot;0&quot; lineRuleWithin=&quot;1&quot; lineRuleAfter=&quot;0&quot; spaceBefore=&quot;0&quot; spaceWithin=&quot;0.95&quot; spaceAfter=&quot;0&quot; /&gt;&lt;font name=&quot;Arial&quot; size=&quot;54&quot; bold=&quot;0&quot; italic=&quot;0&quot; underlineStyle=&quot;0&quot; color=&quot;#ffffff&quot; spacing=&quot;0&quot; kerning=&quot;12&quot; /&gt;&lt;/element&gt;&lt;element type=&quot;autoshape&quot; autoShapeType=&quot;1&quot; value=&quot;%agendaName%&quot; slideType=&quot;1&quot;&gt;&lt;position left=&quot;-197.81411&quot; top=&quot;252.473934&quot; width=&quot;123.634&quot; height=&quot;115.6044&quot; autoshape=&quot;1&quot; rotation=&quot;0&quot; /&gt;&lt;line visible=&quot;1&quot; weight=&quot;0.75&quot; style=&quot;1&quot; dashStyle=&quot;1&quot; foreColor=&quot;#ffffff&quot; /&gt;&lt;fill visible=&quot;0&quot; /&gt;&lt;textframe horizontalAnchor=&quot;1&quot; verticalAnchor=&quot;1&quot; orientation=&quot;1&quot; wordWrap=&quot;1&quot; autoSize=&quot;0&quot; marginLeft=&quot;8.503937&quot; marginRight=&quot;0&quot; marginTop=&quot;14.17323&quot; marginBottom=&quot;0&quot; /&gt;&lt;paragraphformat alignment=&quot;1&quot; lineRuleBefore=&quot;0&quot; lineRuleWithin=&quot;1&quot; lineRuleAfter=&quot;0&quot; spaceBefore=&quot;0&quot; spaceWithin=&quot;0.95&quot; spaceAfter=&quot;0&quot; /&gt;&lt;font name=&quot;Arial&quot; size=&quot;10&quot; bold=&quot;0&quot; italic=&quot;0&quot; underlineStyle=&quot;0&quot; color=&quot;#ffffff&quot; spacing=&quot;0&quot; kerning=&quot;12&quot; /&gt;&lt;/element&gt;&lt;element type=&quot;autoshape&quot; autoShapeType=&quot;1&quot; value=&quot;&quot; slideType=&quot;1&quot;&gt;&lt;position left=&quot;-286.10831&quot; top=&quot;252.473934&quot; width=&quot;73.17614&quot; height=&quot;78.41528&quot; autoshape=&quot;1&quot; rotation=&quot;0&quot; /&gt;&lt;line visible=&quot;1&quot; weight=&quot;0.75&quot; style=&quot;1&quot; dashStyle=&quot;1&quot; foreColor=&quot;#ffffff&quot; /&gt;&lt;fill visible=&quot;0&quot; /&gt;&lt;/element&gt;&lt;element type=&quot;autoshape&quot; autoShapeType=&quot;1&quot; value=&quot;&quot; slideType=&quot;2&quot;&gt;&lt;position left=&quot;-294.2502816&quot; top=&quot;-4.4596064&quot; width=&quot;74.61984&quot; height=&quot;74.61984&quot; autoshape=&quot;1&quot; rotation=&quot;0&quot; /&gt;&lt;line visible=&quot;1&quot; weight=&quot;0.75&quot; style=&quot;1&quot; dashStyle=&quot;1&quot; foreColor=&quot;#ffffff&quot; /&gt;&lt;fill visible=&quot;0&quot; /&gt;&lt;/element&gt;&lt;element type=&quot;autoshape&quot; autoShapeType=&quot;1&quot; value=&quot;%topic%&quot; slideType=&quot;2&quot;&gt;&lt;position left=&quot;-294.2502816&quot; top=&quot;93.1711075&quot; width=&quot;758.6493&quot; height=&quot;252.2583&quot; autoshape=&quot;1&quot; rotation=&quot;0&quot; /&gt;&lt;line visible=&quot;1&quot; weight=&quot;0.75&quot; style=&quot;1&quot; dashStyle=&quot;1&quot; foreColor=&quot;#ffffff&quot; /&gt;&lt;fill visible=&quot;0&quot; /&gt;&lt;textframe horizontalAnchor=&quot;1&quot; verticalAnchor=&quot;4&quot; orientation=&quot;1&quot; wordWrap=&quot;1&quot; autoSize=&quot;0&quot; marginLeft=&quot;21.6&quot; marginRight=&quot;21.6&quot; marginTop=&quot;21.6&quot; marginBottom=&quot;10.8&quot; /&gt;&lt;paragraphformat alignment=&quot;1&quot; lineRuleBefore=&quot;0&quot; lineRuleWithin=&quot;0&quot; lineRuleAfter=&quot;0&quot; spaceBefore=&quot;0&quot; spaceWithin=&quot;60&quot; spaceAfter=&quot;0&quot; /&gt;&lt;font name=&quot;Arial&quot; size=&quot;54&quot; bold=&quot;0&quot; italic=&quot;0&quot; underlineStyle=&quot;0&quot; color=&quot;#ffffff&quot; spacing=&quot;0&quot; kerning=&quot;12&quot; /&gt;&lt;/element&gt;&lt;/elements&gt;&lt;/layout&gt;&lt;/layouts&gt;&lt;contents&gt;&lt;agenda name=&quot;&quot; title=&quot;&quot; subtitle=&quot;&quot; sizingModeId=&quot;1&quot; fontSize=&quot;24&quot; fontSizeAuto=&quot;1&quot; startTime=&quot;540&quot; timeFormatId=&quot;1&quot; startItemNo=&quot;1&quot; createSingleAgendaSlide=&quot;1&quot; createSeparatingSlides=&quot;1&quot; createBackupSlide=&quot;1&quot; layoutId=&quot;227_1-1&quot; hideSeparatingSlides=&quot;0&quot; createSections=&quot;0&quot;&gt;&lt;columns&gt;&lt;column field=&quot;itemno&quot; label=&quot;No.&quot; checked=&quot;0&quot; leftSpacing=&quot;0&quot; rightSpacing=&quot;0&quot; dock=&quot;1&quot; fixedWidth=&quot;51.87527&quot; /&gt;&lt;column field=&quot;topic&quot; label=&quot;Topic&quot; leftSpacing=&quot;0&quot; rightDistribute=&quot;1&quot; dock=&quot;1&quot; /&gt;&lt;column field=&quot;responsible&quot; label=&quot;Responsible&quot; visible=&quot;0&quot; checked=&quot;0&quot; leftSpacing=&quot;10&quot; rightDistribute=&quot;1&quot; dock=&quot;1&quot; /&gt;&lt;column field=&quot;freecolumn&quot; label=&quot;&quot; visible=&quot;0&quot; checked=&quot;0&quot; leftSpacing=&quot;10&quot; rightDistribute=&quot;1&quot; dock=&quot;1&quot; /&gt;&lt;column field=&quot;timeslot&quot; label=&quot;Time Slot&quot; visible=&quot;1&quot; checked=&quot;0&quot; leftSpacing=&quot;34&quot; rightSpacing=&quot;0&quot; dock=&quot;2&quot; /&gt;&lt;column field=&quot;pageno&quot; label=&quot;Page No.&quot; visible=&quot;0&quot; checked=&quot;0&quot; leftSpacing=&quot;34&quot; rightSpacing=&quot;0&quot; dock=&quot;2&quot; /&gt;&lt;/columns&gt;&lt;items /&gt;&lt;/agenda&gt;&lt;/contents&gt;&lt;/ee4p&gt;"/>
  <p:tag name="EE4P_MASTERWIZARD_MARGINS" val="0"/>
  <p:tag name="EE4P_STYLE_ID" val="gO2RZBf2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GRADIENT_OVERLAY" val="1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LssKmaolleEHkHnNnh96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QKwybSONHuWhbnmi9rml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2_ FEDF Far East Grid 16:9 - 13395">
  <a:themeElements>
    <a:clrScheme name="Custom 28">
      <a:dk1>
        <a:srgbClr val="000000"/>
      </a:dk1>
      <a:lt1>
        <a:srgbClr val="FFFFFF"/>
      </a:lt1>
      <a:dk2>
        <a:srgbClr val="1F497D"/>
      </a:dk2>
      <a:lt2>
        <a:srgbClr val="F2F2F2"/>
      </a:lt2>
      <a:accent1>
        <a:srgbClr val="005FA0"/>
      </a:accent1>
      <a:accent2>
        <a:srgbClr val="007BB4"/>
      </a:accent2>
      <a:accent3>
        <a:srgbClr val="00B0CA"/>
      </a:accent3>
      <a:accent4>
        <a:srgbClr val="87E3FD"/>
      </a:accent4>
      <a:accent5>
        <a:srgbClr val="DC0D15"/>
      </a:accent5>
      <a:accent6>
        <a:srgbClr val="92D050"/>
      </a:accent6>
      <a:hlink>
        <a:srgbClr val="154094"/>
      </a:hlink>
      <a:folHlink>
        <a:srgbClr val="00B9DC"/>
      </a:folHlink>
    </a:clrScheme>
    <a:fontScheme name="Custom 40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0E4A8E"/>
        </a:solidFill>
        <a:ln w="9525" cap="rnd" cmpd="sng" algn="ctr">
          <a:noFill/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bg1">
              <a:lumMod val="50000"/>
            </a:schemeClr>
          </a:solidFill>
          <a:miter lim="800000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xtLst>
          <a:ext uri="{91240B29-F687-4F45-9708-019B960494DF}">
            <a14:hiddenLine xmlns:a14="http://schemas.microsoft.com/office/drawing/2010/main" w="9525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14:hiddenLine>
          </a:ext>
        </a:extLst>
      </a:spPr>
      <a:bodyPr wrap="square" lIns="0" tIns="0" rIns="0" bIns="0" rtlCol="0" anchor="ctr">
        <a:noAutofit/>
      </a:bodyPr>
      <a:lstStyle>
        <a:defPPr algn="ctr">
          <a:lnSpc>
            <a:spcPct val="90000"/>
          </a:lnSpc>
          <a:spcAft>
            <a:spcPts val="600"/>
          </a:spcAft>
          <a:defRPr sz="1200" dirty="0" err="1" smtClean="0">
            <a:latin typeface="Arial" panose="020B0604020202020204" pitchFamily="34" charset="0"/>
            <a:sym typeface="Arial" panose="020B0604020202020204" pitchFamily="34" charset="0"/>
          </a:defRPr>
        </a:defPPr>
      </a:lst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Theme">
  <a:themeElements>
    <a:clrScheme name="BCG 2015">
      <a:dk1>
        <a:srgbClr val="6E6F73"/>
      </a:dk1>
      <a:lt1>
        <a:sysClr val="window" lastClr="FFFFFF"/>
      </a:lt1>
      <a:dk2>
        <a:srgbClr val="2FC77E"/>
      </a:dk2>
      <a:lt2>
        <a:srgbClr val="E7E7E7"/>
      </a:lt2>
      <a:accent1>
        <a:srgbClr val="03522D"/>
      </a:accent1>
      <a:accent2>
        <a:srgbClr val="197A56"/>
      </a:accent2>
      <a:accent3>
        <a:srgbClr val="E3EE37"/>
      </a:accent3>
      <a:accent4>
        <a:srgbClr val="3EAD92"/>
      </a:accent4>
      <a:accent5>
        <a:srgbClr val="6E6F73"/>
      </a:accent5>
      <a:accent6>
        <a:srgbClr val="295E7E"/>
      </a:accent6>
      <a:hlink>
        <a:srgbClr val="2E3558"/>
      </a:hlink>
      <a:folHlink>
        <a:srgbClr val="670F31"/>
      </a:folHlink>
    </a:clrScheme>
    <a:fontScheme name="BCG Trebuchet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BCG Colors 2015">
      <a:dk1>
        <a:srgbClr val="6E6F73"/>
      </a:dk1>
      <a:lt1>
        <a:sysClr val="window" lastClr="FFFFFF"/>
      </a:lt1>
      <a:dk2>
        <a:srgbClr val="2FC77E"/>
      </a:dk2>
      <a:lt2>
        <a:srgbClr val="E7E7E7"/>
      </a:lt2>
      <a:accent1>
        <a:srgbClr val="03522D"/>
      </a:accent1>
      <a:accent2>
        <a:srgbClr val="197A56"/>
      </a:accent2>
      <a:accent3>
        <a:srgbClr val="E3EE37"/>
      </a:accent3>
      <a:accent4>
        <a:srgbClr val="3EAD92"/>
      </a:accent4>
      <a:accent5>
        <a:srgbClr val="6E6F73"/>
      </a:accent5>
      <a:accent6>
        <a:srgbClr val="295E7E"/>
      </a:accent6>
      <a:hlink>
        <a:srgbClr val="2FC77E"/>
      </a:hlink>
      <a:folHlink>
        <a:srgbClr val="03522D"/>
      </a:folHlink>
    </a:clrScheme>
    <a:fontScheme name="BCG Trebuchet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4309</TotalTime>
  <Words>657</Words>
  <Application>Microsoft Office PowerPoint</Application>
  <PresentationFormat>Широкоэкранный</PresentationFormat>
  <Paragraphs>67</Paragraphs>
  <Slides>24</Slides>
  <Notes>1</Notes>
  <HiddenSlides>0</HiddenSlides>
  <MMClips>0</MMClips>
  <ScaleCrop>false</ScaleCrop>
  <HeadingPairs>
    <vt:vector size="10" baseType="variant">
      <vt:variant>
        <vt:lpstr>Использованные шрифты</vt:lpstr>
      </vt:variant>
      <vt:variant>
        <vt:i4>5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24</vt:i4>
      </vt:variant>
      <vt:variant>
        <vt:lpstr>Произвольные показы</vt:lpstr>
      </vt:variant>
      <vt:variant>
        <vt:i4>1</vt:i4>
      </vt:variant>
    </vt:vector>
  </HeadingPairs>
  <TitlesOfParts>
    <vt:vector size="32" baseType="lpstr">
      <vt:lpstr>Arial</vt:lpstr>
      <vt:lpstr>Arial Nova Light</vt:lpstr>
      <vt:lpstr>Calibri</vt:lpstr>
      <vt:lpstr>Trebuchet MS</vt:lpstr>
      <vt:lpstr>Wingdings</vt:lpstr>
      <vt:lpstr>2_ FEDF Far East Grid 16:9 - 13395</vt:lpstr>
      <vt:lpstr>think-cell Slide</vt:lpstr>
      <vt:lpstr>Профессиональное развитие на Дальнем Востоке</vt:lpstr>
      <vt:lpstr>23 Территории опережающего развития   Свободный порт Владивосток   Более 500 резидентов   Более 100 000 рабочих мест </vt:lpstr>
      <vt:lpstr>Презентация PowerPoint</vt:lpstr>
      <vt:lpstr>Информация о количестве бюджетных мест</vt:lpstr>
      <vt:lpstr>Как поступить по программе целевого обучения в рамках квоты?</vt:lpstr>
      <vt:lpstr>МИФ 2  Хочешь добиться успеха – стань экономистом или юристом</vt:lpstr>
      <vt:lpstr>Ключевые отрасли Дальнего Востока</vt:lpstr>
      <vt:lpstr>Презентация PowerPoint</vt:lpstr>
      <vt:lpstr>Презентация PowerPoint</vt:lpstr>
      <vt:lpstr>Презентация PowerPoint</vt:lpstr>
      <vt:lpstr>МИФ 3  Образование должно быть только высшим</vt:lpstr>
      <vt:lpstr>Презентация PowerPoint</vt:lpstr>
      <vt:lpstr>МИФ 4  ОБРАЗОВАНИЕ ПОЛУЧАЮТ ОДИН РАЗ НА ВСЮ ЖИЗНЬ</vt:lpstr>
      <vt:lpstr>Презентация PowerPoint</vt:lpstr>
      <vt:lpstr>Программа «Содействие занятости» в рамках национального проекта «Демография»</vt:lpstr>
      <vt:lpstr>Миф 5. Нужно быть коммуникабельным, креативным и позитивным</vt:lpstr>
      <vt:lpstr>Бета-лидеры</vt:lpstr>
      <vt:lpstr>МИФ 6  Надо хорошо учиться, и этого достаточно</vt:lpstr>
      <vt:lpstr>Презентация PowerPoint</vt:lpstr>
      <vt:lpstr>Миф 7. Успех только для избранных</vt:lpstr>
      <vt:lpstr>Кванториум Сириус ГТО Олимпиады Волонтерство</vt:lpstr>
      <vt:lpstr>Презентация PowerPoint</vt:lpstr>
      <vt:lpstr>Принципы Икигай:  1. Начинать с малого.  2. Освободить себя. Осуществлять свои цели, а не чужие ожидания.  3. Обрести гармонию и устойчивость. Идти к своей мечте можно только помня о других людях, природе и окружающем мире.   4. Радоваться мелочам. Мысленно отмечайте вещи, которые дарят вам удовольствие, радуйтесь им и будьте благодарны судьбе за эти мелочи.   5. Быть здесь и сейчас. Вы работаете не для того, чтобы заработать деньги на жизнь, а потому что вы получаете от этого наслаждение, самореализуетесь, достигаете своих целей и делаете мир лучше. </vt:lpstr>
      <vt:lpstr>Спасибо за внимание!  Горшунова Светлана Андреевна  89681422006  @Svetlana_gorshunova.vladivosto</vt:lpstr>
      <vt:lpstr>Format Guide Workshop</vt:lpstr>
    </vt:vector>
  </TitlesOfParts>
  <Manager/>
  <Company>КРДВ</Company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/>
  <dc:creator>ДВ</dc:creator>
  <cp:keywords/>
  <dc:description/>
  <cp:lastModifiedBy>Горшунова Светлана Андреевна</cp:lastModifiedBy>
  <cp:revision>1134</cp:revision>
  <cp:lastPrinted>2021-04-26T13:14:13Z</cp:lastPrinted>
  <dcterms:created xsi:type="dcterms:W3CDTF">2021-01-23T01:46:21Z</dcterms:created>
  <dcterms:modified xsi:type="dcterms:W3CDTF">2021-10-14T10:01:01Z</dcterms:modified>
  <cp:category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Format Name">
    <vt:lpwstr>Grid Format</vt:lpwstr>
  </property>
  <property fmtid="{D5CDD505-2E9C-101B-9397-08002B2CF9AE}" pid="3" name="NXPowerLiteLastOptimized">
    <vt:lpwstr>12014826</vt:lpwstr>
  </property>
  <property fmtid="{D5CDD505-2E9C-101B-9397-08002B2CF9AE}" pid="4" name="NXPowerLiteSettings">
    <vt:lpwstr>87000AA0054001</vt:lpwstr>
  </property>
  <property fmtid="{D5CDD505-2E9C-101B-9397-08002B2CF9AE}" pid="5" name="NXPowerLiteVersion">
    <vt:lpwstr>D8.0.11</vt:lpwstr>
  </property>
  <property fmtid="{D5CDD505-2E9C-101B-9397-08002B2CF9AE}" pid="6" name="Template Name">
    <vt:lpwstr>16x9</vt:lpwstr>
  </property>
</Properties>
</file>